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slides/slide39.xml" ContentType="application/vnd.openxmlformats-officedocument.presentationml.slide+xml"/>
  <Override PartName="/ppt/presentation.xml" ContentType="application/vnd.openxmlformats-officedocument.presentationml.presentation.main+xml"/>
  <Override PartName="/ppt/slides/slide38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18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30.xml" ContentType="application/vnd.openxmlformats-officedocument.presentationml.slide+xml"/>
  <Override PartName="/ppt/slides/slide29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26.xml" ContentType="application/vnd.openxmlformats-officedocument.presentationml.slide+xml"/>
  <Override PartName="/ppt/slides/slide17.xml" ContentType="application/vnd.openxmlformats-officedocument.presentationml.slide+xml"/>
  <Override PartName="/ppt/slides/slide16.xml" ContentType="application/vnd.openxmlformats-officedocument.presentationml.slide+xml"/>
  <Override PartName="/ppt/slides/slide15.xml" ContentType="application/vnd.openxmlformats-officedocument.presentationml.slide+xml"/>
  <Override PartName="/ppt/slides/slide8.xml" ContentType="application/vnd.openxmlformats-officedocument.presentationml.slide+xml"/>
  <Override PartName="/ppt/slides/slide13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14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31.xml" ContentType="application/vnd.openxmlformats-officedocument.presentationml.slide+xml"/>
  <Override PartName="/ppt/slides/slide12.xml" ContentType="application/vnd.openxmlformats-officedocument.presentationml.slide+xml"/>
  <Override PartName="/ppt/slides/slide35.xml" ContentType="application/vnd.openxmlformats-officedocument.presentationml.slide+xml"/>
  <Override PartName="/ppt/slides/slide34.xml" ContentType="application/vnd.openxmlformats-officedocument.presentationml.slide+xml"/>
  <Override PartName="/ppt/slides/slide33.xml" ContentType="application/vnd.openxmlformats-officedocument.presentationml.slide+xml"/>
  <Override PartName="/ppt/slides/slide32.xml" ContentType="application/vnd.openxmlformats-officedocument.presentationml.slide+xml"/>
  <Override PartName="/ppt/slides/slide37.xml" ContentType="application/vnd.openxmlformats-officedocument.presentationml.slide+xml"/>
  <Override PartName="/ppt/slides/slide36.xml" ContentType="application/vnd.openxmlformats-officedocument.presentationml.slide+xml"/>
  <Override PartName="/ppt/notesSlides/notesSlide20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7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notesSlides/notesSlide22.xml" ContentType="application/vnd.openxmlformats-officedocument.presentationml.notesSlide+xml"/>
  <Override PartName="/ppt/notesSlides/notesSlide18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39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3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4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23.xml" ContentType="application/vnd.openxmlformats-officedocument.presentationml.notesSlide+xml"/>
  <Override PartName="/ppt/slideLayouts/slideLayout7.xml" ContentType="application/vnd.openxmlformats-officedocument.presentationml.slideLayout+xml"/>
  <Override PartName="/ppt/notesSlides/notesSlide28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Slides/notesSlide16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0.xml" ContentType="application/vnd.openxmlformats-officedocument.presentationml.notesSlide+xml"/>
  <Override PartName="/ppt/charts/chart1.xml" ContentType="application/vnd.openxmlformats-officedocument.drawingml.chart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theme/theme3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charts/colors2.xml" ContentType="application/vnd.ms-office.chartcolorstyle+xml"/>
  <Override PartName="/ppt/charts/style1.xml" ContentType="application/vnd.ms-office.chartstyle+xml"/>
  <Override PartName="/ppt/charts/chart4.xml" ContentType="application/vnd.openxmlformats-officedocument.drawingml.chart+xml"/>
  <Override PartName="/ppt/charts/chart3.xml" ContentType="application/vnd.openxmlformats-officedocument.drawingml.chart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14.xml" ContentType="application/vnd.openxmlformats-officedocument.presentationml.tags+xml"/>
  <Override PartName="/ppt/tags/tag113.xml" ContentType="application/vnd.openxmlformats-officedocument.presentationml.tags+xml"/>
  <Override PartName="/ppt/tags/tag112.xml" ContentType="application/vnd.openxmlformats-officedocument.presentationml.tags+xml"/>
  <Override PartName="/ppt/tags/tag115.xml" ContentType="application/vnd.openxmlformats-officedocument.presentationml.tags+xml"/>
  <Override PartName="/customXml/itemProps2.xml" ContentType="application/vnd.openxmlformats-officedocument.customXml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docProps/core.xml" ContentType="application/vnd.openxmlformats-package.core-properties+xml"/>
  <Override PartName="/ppt/tags/tag77.xml" ContentType="application/vnd.openxmlformats-officedocument.presentationml.tags+xml"/>
  <Override PartName="/ppt/tags/tag110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1.xml" ContentType="application/vnd.openxmlformats-officedocument.presentationml.tags+xml"/>
  <Override PartName="/ppt/tags/tag90.xml" ContentType="application/vnd.openxmlformats-officedocument.presentationml.tags+xml"/>
  <Override PartName="/ppt/tags/tag89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05.xml" ContentType="application/vnd.openxmlformats-officedocument.presentationml.tags+xml"/>
  <Override PartName="/ppt/tags/tag104.xml" ContentType="application/vnd.openxmlformats-officedocument.presentationml.tags+xml"/>
  <Override PartName="/ppt/tags/tag103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84.xml" ContentType="application/vnd.openxmlformats-officedocument.presentationml.tags+xml"/>
  <Override PartName="/ppt/tags/tag83.xml" ContentType="application/vnd.openxmlformats-officedocument.presentationml.tags+xml"/>
  <Override PartName="/ppt/tags/tag82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3.xml" ContentType="application/vnd.openxmlformats-officedocument.presentationml.tags+xml"/>
  <Override PartName="/ppt/tags/tag62.xml" ContentType="application/vnd.openxmlformats-officedocument.presentationml.tags+xml"/>
  <Override PartName="/ppt/tags/tag61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76.xml" ContentType="application/vnd.openxmlformats-officedocument.presentationml.tags+xml"/>
  <Override PartName="/ppt/tags/tag75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111.xml" ContentType="application/vnd.openxmlformats-officedocument.presentationml.tag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3"/>
  </p:sldMasterIdLst>
  <p:notesMasterIdLst>
    <p:notesMasterId r:id="rId43"/>
  </p:notesMasterIdLst>
  <p:handoutMasterIdLst>
    <p:handoutMasterId r:id="rId44"/>
  </p:handoutMasterIdLst>
  <p:sldIdLst>
    <p:sldId id="412" r:id="rId4"/>
    <p:sldId id="448" r:id="rId5"/>
    <p:sldId id="449" r:id="rId6"/>
    <p:sldId id="450" r:id="rId7"/>
    <p:sldId id="455" r:id="rId8"/>
    <p:sldId id="425" r:id="rId9"/>
    <p:sldId id="426" r:id="rId10"/>
    <p:sldId id="427" r:id="rId11"/>
    <p:sldId id="428" r:id="rId12"/>
    <p:sldId id="429" r:id="rId13"/>
    <p:sldId id="423" r:id="rId14"/>
    <p:sldId id="424" r:id="rId15"/>
    <p:sldId id="430" r:id="rId16"/>
    <p:sldId id="431" r:id="rId17"/>
    <p:sldId id="415" r:id="rId18"/>
    <p:sldId id="422" r:id="rId19"/>
    <p:sldId id="418" r:id="rId20"/>
    <p:sldId id="417" r:id="rId21"/>
    <p:sldId id="433" r:id="rId22"/>
    <p:sldId id="434" r:id="rId23"/>
    <p:sldId id="435" r:id="rId24"/>
    <p:sldId id="432" r:id="rId25"/>
    <p:sldId id="437" r:id="rId26"/>
    <p:sldId id="438" r:id="rId27"/>
    <p:sldId id="441" r:id="rId28"/>
    <p:sldId id="436" r:id="rId29"/>
    <p:sldId id="442" r:id="rId30"/>
    <p:sldId id="453" r:id="rId31"/>
    <p:sldId id="439" r:id="rId32"/>
    <p:sldId id="443" r:id="rId33"/>
    <p:sldId id="452" r:id="rId34"/>
    <p:sldId id="451" r:id="rId35"/>
    <p:sldId id="440" r:id="rId36"/>
    <p:sldId id="446" r:id="rId37"/>
    <p:sldId id="444" r:id="rId38"/>
    <p:sldId id="419" r:id="rId39"/>
    <p:sldId id="445" r:id="rId40"/>
    <p:sldId id="447" r:id="rId41"/>
    <p:sldId id="454" r:id="rId42"/>
  </p:sldIdLst>
  <p:sldSz cx="9144000" cy="6858000" type="screen4x3"/>
  <p:notesSz cx="6669088" cy="9928225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3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5pPr>
    <a:lvl6pPr marL="2286000" algn="l" defTabSz="914400" rtl="0" eaLnBrk="1" latinLnBrk="0" hangingPunct="1">
      <a:defRPr sz="3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6pPr>
    <a:lvl7pPr marL="2743200" algn="l" defTabSz="914400" rtl="0" eaLnBrk="1" latinLnBrk="0" hangingPunct="1">
      <a:defRPr sz="3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7pPr>
    <a:lvl8pPr marL="3200400" algn="l" defTabSz="914400" rtl="0" eaLnBrk="1" latinLnBrk="0" hangingPunct="1">
      <a:defRPr sz="3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8pPr>
    <a:lvl9pPr marL="3657600" algn="l" defTabSz="914400" rtl="0" eaLnBrk="1" latinLnBrk="0" hangingPunct="1">
      <a:defRPr sz="320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FF"/>
    <a:srgbClr val="0E438A"/>
    <a:srgbClr val="002060"/>
    <a:srgbClr val="000066"/>
    <a:srgbClr val="FF3300"/>
    <a:srgbClr val="525152"/>
    <a:srgbClr val="0099CC"/>
    <a:srgbClr val="006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309" autoAdjust="0"/>
    <p:restoredTop sz="94434" autoAdjust="0"/>
  </p:normalViewPr>
  <p:slideViewPr>
    <p:cSldViewPr>
      <p:cViewPr>
        <p:scale>
          <a:sx n="70" d="100"/>
          <a:sy n="70" d="100"/>
        </p:scale>
        <p:origin x="1272" y="1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334" y="-96"/>
      </p:cViewPr>
      <p:guideLst>
        <p:guide orient="horz" pos="3128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customXml" Target="../customXml/item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customXml" Target="../customXml/item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viewProps" Target="viewProps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Libro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Libro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Libro3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Libro3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322A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. </c:separator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3:$A$21</c:f>
              <c:strCache>
                <c:ptCount val="19"/>
                <c:pt idx="0">
                  <c:v>Cuba</c:v>
                </c:pt>
                <c:pt idx="1">
                  <c:v>México</c:v>
                </c:pt>
                <c:pt idx="2">
                  <c:v>Bolivia</c:v>
                </c:pt>
                <c:pt idx="3">
                  <c:v>Perú</c:v>
                </c:pt>
                <c:pt idx="4">
                  <c:v>Nicaragua</c:v>
                </c:pt>
                <c:pt idx="5">
                  <c:v>Venezuela</c:v>
                </c:pt>
                <c:pt idx="6">
                  <c:v>Costa Rica</c:v>
                </c:pt>
                <c:pt idx="7">
                  <c:v>Colombia</c:v>
                </c:pt>
                <c:pt idx="8">
                  <c:v>Honduras</c:v>
                </c:pt>
                <c:pt idx="9">
                  <c:v>Paraguay</c:v>
                </c:pt>
                <c:pt idx="10">
                  <c:v>R. Dominicana</c:v>
                </c:pt>
                <c:pt idx="11">
                  <c:v>Guatemala</c:v>
                </c:pt>
                <c:pt idx="12">
                  <c:v>Brasil</c:v>
                </c:pt>
                <c:pt idx="13">
                  <c:v>Ecuador</c:v>
                </c:pt>
                <c:pt idx="14">
                  <c:v>Chile</c:v>
                </c:pt>
                <c:pt idx="15">
                  <c:v>Uruguay</c:v>
                </c:pt>
                <c:pt idx="16">
                  <c:v>Panamá</c:v>
                </c:pt>
                <c:pt idx="17">
                  <c:v>El Salvador</c:v>
                </c:pt>
                <c:pt idx="18">
                  <c:v>Argentina</c:v>
                </c:pt>
              </c:strCache>
            </c:strRef>
          </c:cat>
          <c:val>
            <c:numRef>
              <c:f>Hoja1!$B$3:$B$21</c:f>
              <c:numCache>
                <c:formatCode>_-* #,##0.0\ _€_-;\-* #,##0.0\ _€_-;_-* "-"??\ _€_-;_-@_-</c:formatCode>
                <c:ptCount val="19"/>
                <c:pt idx="0">
                  <c:v>13.87</c:v>
                </c:pt>
                <c:pt idx="1">
                  <c:v>38.450000000000003</c:v>
                </c:pt>
                <c:pt idx="2">
                  <c:v>47.3</c:v>
                </c:pt>
                <c:pt idx="3">
                  <c:v>49.78</c:v>
                </c:pt>
                <c:pt idx="4">
                  <c:v>52.33</c:v>
                </c:pt>
                <c:pt idx="5">
                  <c:v>52.62</c:v>
                </c:pt>
                <c:pt idx="6">
                  <c:v>53.83</c:v>
                </c:pt>
                <c:pt idx="7">
                  <c:v>54.09</c:v>
                </c:pt>
                <c:pt idx="8">
                  <c:v>54.58</c:v>
                </c:pt>
                <c:pt idx="9">
                  <c:v>54.68</c:v>
                </c:pt>
                <c:pt idx="10">
                  <c:v>55.61</c:v>
                </c:pt>
                <c:pt idx="11">
                  <c:v>55.62</c:v>
                </c:pt>
                <c:pt idx="12">
                  <c:v>55.9</c:v>
                </c:pt>
                <c:pt idx="13">
                  <c:v>59.2</c:v>
                </c:pt>
                <c:pt idx="14">
                  <c:v>60.07</c:v>
                </c:pt>
                <c:pt idx="15">
                  <c:v>61.34</c:v>
                </c:pt>
                <c:pt idx="16">
                  <c:v>63.11</c:v>
                </c:pt>
                <c:pt idx="17">
                  <c:v>66.17</c:v>
                </c:pt>
                <c:pt idx="18">
                  <c:v>66.81999999999999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27851688"/>
        <c:axId val="444658168"/>
      </c:barChart>
      <c:catAx>
        <c:axId val="2278516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444658168"/>
        <c:crosses val="autoZero"/>
        <c:auto val="1"/>
        <c:lblAlgn val="ctr"/>
        <c:lblOffset val="100"/>
        <c:noMultiLvlLbl val="0"/>
      </c:catAx>
      <c:valAx>
        <c:axId val="444658168"/>
        <c:scaling>
          <c:orientation val="minMax"/>
        </c:scaling>
        <c:delete val="1"/>
        <c:axPos val="b"/>
        <c:numFmt formatCode="_-* #,##0.0\ _€_-;\-* #,##0.0\ _€_-;_-* &quot;-&quot;??\ _€_-;_-@_-" sourceLinked="1"/>
        <c:majorTickMark val="none"/>
        <c:minorTickMark val="none"/>
        <c:tickLblPos val="nextTo"/>
        <c:crossAx val="227851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322ADA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tx1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3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C$3:$C$21</c:f>
              <c:strCache>
                <c:ptCount val="19"/>
                <c:pt idx="0">
                  <c:v>Cuba</c:v>
                </c:pt>
                <c:pt idx="1">
                  <c:v>México</c:v>
                </c:pt>
                <c:pt idx="2">
                  <c:v>Bolivia</c:v>
                </c:pt>
                <c:pt idx="3">
                  <c:v>R. Dominicana</c:v>
                </c:pt>
                <c:pt idx="4">
                  <c:v>Costa Rica</c:v>
                </c:pt>
                <c:pt idx="5">
                  <c:v>Honduras</c:v>
                </c:pt>
                <c:pt idx="6">
                  <c:v>Perú</c:v>
                </c:pt>
                <c:pt idx="7">
                  <c:v>Nicaragua</c:v>
                </c:pt>
                <c:pt idx="8">
                  <c:v>Colombia</c:v>
                </c:pt>
                <c:pt idx="9">
                  <c:v>Guatemala</c:v>
                </c:pt>
                <c:pt idx="10">
                  <c:v>Paraguay</c:v>
                </c:pt>
                <c:pt idx="11">
                  <c:v>Venezuela</c:v>
                </c:pt>
                <c:pt idx="12">
                  <c:v>Ecuador</c:v>
                </c:pt>
                <c:pt idx="13">
                  <c:v>Panamá</c:v>
                </c:pt>
                <c:pt idx="14">
                  <c:v>Brasil</c:v>
                </c:pt>
                <c:pt idx="15">
                  <c:v>Argentina</c:v>
                </c:pt>
                <c:pt idx="16">
                  <c:v>El Salvador</c:v>
                </c:pt>
                <c:pt idx="17">
                  <c:v>Uruguay</c:v>
                </c:pt>
                <c:pt idx="18">
                  <c:v>Chile</c:v>
                </c:pt>
              </c:strCache>
            </c:strRef>
          </c:cat>
          <c:val>
            <c:numRef>
              <c:f>Hoja1!$D$3:$D$21</c:f>
              <c:numCache>
                <c:formatCode>_-* #,##0.0\ _€_-;\-* #,##0.0\ _€_-;_-* "-"??\ _€_-;_-@_-</c:formatCode>
                <c:ptCount val="19"/>
                <c:pt idx="0">
                  <c:v>15.49</c:v>
                </c:pt>
                <c:pt idx="1">
                  <c:v>86.57</c:v>
                </c:pt>
                <c:pt idx="2">
                  <c:v>90.55</c:v>
                </c:pt>
                <c:pt idx="3">
                  <c:v>92.54</c:v>
                </c:pt>
                <c:pt idx="4">
                  <c:v>95.78</c:v>
                </c:pt>
                <c:pt idx="5">
                  <c:v>99.36</c:v>
                </c:pt>
                <c:pt idx="6">
                  <c:v>99.44</c:v>
                </c:pt>
                <c:pt idx="7">
                  <c:v>100.1</c:v>
                </c:pt>
                <c:pt idx="8">
                  <c:v>100.34</c:v>
                </c:pt>
                <c:pt idx="9">
                  <c:v>103.71</c:v>
                </c:pt>
                <c:pt idx="10">
                  <c:v>107.56</c:v>
                </c:pt>
                <c:pt idx="11">
                  <c:v>109.38</c:v>
                </c:pt>
                <c:pt idx="12">
                  <c:v>113.88</c:v>
                </c:pt>
                <c:pt idx="13">
                  <c:v>132.75</c:v>
                </c:pt>
                <c:pt idx="14">
                  <c:v>133.34</c:v>
                </c:pt>
                <c:pt idx="15">
                  <c:v>141.26</c:v>
                </c:pt>
                <c:pt idx="16">
                  <c:v>144.9</c:v>
                </c:pt>
                <c:pt idx="17">
                  <c:v>145.66999999999999</c:v>
                </c:pt>
                <c:pt idx="18">
                  <c:v>152.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38278952"/>
        <c:axId val="438278560"/>
      </c:barChart>
      <c:catAx>
        <c:axId val="4382789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438278560"/>
        <c:crosses val="autoZero"/>
        <c:auto val="1"/>
        <c:lblAlgn val="ctr"/>
        <c:lblOffset val="100"/>
        <c:noMultiLvlLbl val="0"/>
      </c:catAx>
      <c:valAx>
        <c:axId val="438278560"/>
        <c:scaling>
          <c:orientation val="minMax"/>
        </c:scaling>
        <c:delete val="1"/>
        <c:axPos val="b"/>
        <c:numFmt formatCode="_-* #,##0.0\ _€_-;\-* #,##0.0\ _€_-;_-* &quot;-&quot;??\ _€_-;_-@_-" sourceLinked="1"/>
        <c:majorTickMark val="none"/>
        <c:minorTickMark val="none"/>
        <c:tickLblPos val="nextTo"/>
        <c:crossAx val="4382789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38100">
              <a:solidFill>
                <a:srgbClr val="322ADA"/>
              </a:solidFill>
            </a:ln>
          </c:spPr>
          <c:marker>
            <c:symbol val="none"/>
          </c:marker>
          <c:xVal>
            <c:numRef>
              <c:f>Hoja1!$A$3:$A$21</c:f>
              <c:numCache>
                <c:formatCode>General</c:formatCode>
                <c:ptCount val="1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</c:numCache>
            </c:numRef>
          </c:xVal>
          <c:yVal>
            <c:numRef>
              <c:f>Hoja1!$E$3:$E$21</c:f>
              <c:numCache>
                <c:formatCode>General</c:formatCode>
                <c:ptCount val="19"/>
                <c:pt idx="0">
                  <c:v>1.75</c:v>
                </c:pt>
                <c:pt idx="1">
                  <c:v>1.0750000000000002</c:v>
                </c:pt>
                <c:pt idx="2">
                  <c:v>0.85500000000000009</c:v>
                </c:pt>
                <c:pt idx="3">
                  <c:v>0.74912500000000015</c:v>
                </c:pt>
                <c:pt idx="4">
                  <c:v>0.68923000000000023</c:v>
                </c:pt>
                <c:pt idx="5">
                  <c:v>0.65262750000000014</c:v>
                </c:pt>
                <c:pt idx="6">
                  <c:v>0.62962021428571446</c:v>
                </c:pt>
                <c:pt idx="7">
                  <c:v>0.61538445625000027</c:v>
                </c:pt>
                <c:pt idx="8">
                  <c:v>0.59</c:v>
                </c:pt>
                <c:pt idx="9">
                  <c:v>0.56000000000000005</c:v>
                </c:pt>
                <c:pt idx="10">
                  <c:v>0.52223985965600028</c:v>
                </c:pt>
                <c:pt idx="11">
                  <c:v>0.50129426877836025</c:v>
                </c:pt>
                <c:pt idx="12">
                  <c:v>0.48646132016157945</c:v>
                </c:pt>
                <c:pt idx="13">
                  <c:v>0.4739797912116821</c:v>
                </c:pt>
                <c:pt idx="14">
                  <c:v>0.46082876123352134</c:v>
                </c:pt>
                <c:pt idx="15">
                  <c:v>0.44941750292955485</c:v>
                </c:pt>
                <c:pt idx="16">
                  <c:v>0.43944080281237263</c:v>
                </c:pt>
                <c:pt idx="17">
                  <c:v>0.43066130670925229</c:v>
                </c:pt>
                <c:pt idx="18">
                  <c:v>0.42289166269378275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5039200"/>
        <c:axId val="434502320"/>
      </c:scatterChart>
      <c:valAx>
        <c:axId val="2950392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434502320"/>
        <c:crosses val="autoZero"/>
        <c:crossBetween val="midCat"/>
      </c:valAx>
      <c:valAx>
        <c:axId val="43450232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295039200"/>
        <c:crosses val="autoZero"/>
        <c:crossBetween val="midCat"/>
      </c:valAx>
      <c:spPr>
        <a:ln>
          <a:solidFill>
            <a:schemeClr val="tx1"/>
          </a:solidFill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38100">
              <a:solidFill>
                <a:srgbClr val="322ADA"/>
              </a:solidFill>
            </a:ln>
          </c:spPr>
          <c:marker>
            <c:symbol val="none"/>
          </c:marker>
          <c:xVal>
            <c:numRef>
              <c:f>Hoja1!$A$3:$A$21</c:f>
              <c:numCache>
                <c:formatCode>General</c:formatCode>
                <c:ptCount val="1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</c:numCache>
            </c:numRef>
          </c:xVal>
          <c:yVal>
            <c:numRef>
              <c:f>Hoja1!$E$3:$E$21</c:f>
              <c:numCache>
                <c:formatCode>General</c:formatCode>
                <c:ptCount val="19"/>
                <c:pt idx="0">
                  <c:v>1.75</c:v>
                </c:pt>
                <c:pt idx="1">
                  <c:v>1.0750000000000002</c:v>
                </c:pt>
                <c:pt idx="2">
                  <c:v>0.85500000000000009</c:v>
                </c:pt>
                <c:pt idx="3">
                  <c:v>0.74912500000000015</c:v>
                </c:pt>
                <c:pt idx="4">
                  <c:v>0.68923000000000023</c:v>
                </c:pt>
                <c:pt idx="5">
                  <c:v>0.65262750000000014</c:v>
                </c:pt>
                <c:pt idx="6">
                  <c:v>0.62962021428571446</c:v>
                </c:pt>
                <c:pt idx="7">
                  <c:v>0.61538445625000027</c:v>
                </c:pt>
                <c:pt idx="8">
                  <c:v>0.59</c:v>
                </c:pt>
                <c:pt idx="9">
                  <c:v>0.56000000000000005</c:v>
                </c:pt>
                <c:pt idx="10">
                  <c:v>0.52223985965600028</c:v>
                </c:pt>
                <c:pt idx="11">
                  <c:v>0.50129426877836025</c:v>
                </c:pt>
                <c:pt idx="12">
                  <c:v>0.48646132016157945</c:v>
                </c:pt>
                <c:pt idx="13">
                  <c:v>0.4739797912116821</c:v>
                </c:pt>
                <c:pt idx="14">
                  <c:v>0.46082876123352134</c:v>
                </c:pt>
                <c:pt idx="15">
                  <c:v>0.44941750292955485</c:v>
                </c:pt>
                <c:pt idx="16">
                  <c:v>0.43944080281237263</c:v>
                </c:pt>
                <c:pt idx="17">
                  <c:v>0.43066130670925229</c:v>
                </c:pt>
                <c:pt idx="18">
                  <c:v>0.42289166269378275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27350680"/>
        <c:axId val="276594256"/>
      </c:scatterChart>
      <c:valAx>
        <c:axId val="22735068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276594256"/>
        <c:crosses val="autoZero"/>
        <c:crossBetween val="midCat"/>
      </c:valAx>
      <c:valAx>
        <c:axId val="2765942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one"/>
        <c:crossAx val="227350680"/>
        <c:crosses val="autoZero"/>
        <c:crossBetween val="midCat"/>
      </c:valAx>
      <c:spPr>
        <a:ln>
          <a:solidFill>
            <a:schemeClr val="tx1"/>
          </a:solidFill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250" y="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286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89083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286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250" y="9431338"/>
            <a:ext cx="289083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E1C65135-1436-4931-BF25-0A82BAC9239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4896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250" y="0"/>
            <a:ext cx="2890838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52488" y="744538"/>
            <a:ext cx="4964112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9000" y="4714875"/>
            <a:ext cx="4891088" cy="446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81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89083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81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250" y="9431338"/>
            <a:ext cx="2890838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EEE7FF45-9B9B-4A70-99CF-0B5F236758D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86025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EEB9BE89-D5EE-408B-A1B2-5371CA8C5D9C}" type="slidenum">
              <a:rPr lang="en-US" sz="1200"/>
              <a:pPr/>
              <a:t>1</a:t>
            </a:fld>
            <a:endParaRPr lang="en-US" sz="1200"/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72051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0E642755-91A9-4F48-9427-E4C2A11AA3BD}" type="slidenum">
              <a:rPr lang="en-US" sz="1200"/>
              <a:pPr/>
              <a:t>10</a:t>
            </a:fld>
            <a:endParaRPr lang="en-US" sz="120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dirty="0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88940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0D66168E-28C9-446F-8E92-00442E32C791}" type="slidenum">
              <a:rPr lang="en-US" sz="1200"/>
              <a:pPr/>
              <a:t>11</a:t>
            </a:fld>
            <a:endParaRPr lang="en-US" sz="1200"/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88074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AB7432B-48B5-4D50-8A68-85686AF91F2D}" type="slidenum">
              <a:rPr lang="en-US" sz="1200"/>
              <a:pPr/>
              <a:t>12</a:t>
            </a:fld>
            <a:endParaRPr lang="en-US" sz="1200"/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0819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0E642755-91A9-4F48-9427-E4C2A11AA3BD}" type="slidenum">
              <a:rPr lang="en-US" sz="1200"/>
              <a:pPr/>
              <a:t>13</a:t>
            </a:fld>
            <a:endParaRPr lang="en-US" sz="120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dirty="0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31889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0E642755-91A9-4F48-9427-E4C2A11AA3BD}" type="slidenum">
              <a:rPr lang="en-US" sz="1200"/>
              <a:pPr/>
              <a:t>14</a:t>
            </a:fld>
            <a:endParaRPr lang="en-US" sz="120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dirty="0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06541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50783897-C904-4490-9E6B-8C790C41242E}" type="slidenum">
              <a:rPr lang="en-US" sz="1200"/>
              <a:pPr/>
              <a:t>15</a:t>
            </a:fld>
            <a:endParaRPr lang="en-US" sz="1200"/>
          </a:p>
        </p:txBody>
      </p:sp>
      <p:sp>
        <p:nvSpPr>
          <p:cNvPr id="92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92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6071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1A22EC71-9054-4F06-AA41-63BC59E03041}" type="slidenum">
              <a:rPr lang="en-US" sz="1200"/>
              <a:pPr/>
              <a:t>16</a:t>
            </a:fld>
            <a:endParaRPr lang="en-US" sz="1200"/>
          </a:p>
        </p:txBody>
      </p:sp>
      <p:sp>
        <p:nvSpPr>
          <p:cNvPr id="11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0503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0E642755-91A9-4F48-9427-E4C2A11AA3BD}" type="slidenum">
              <a:rPr lang="en-US" sz="1200"/>
              <a:pPr/>
              <a:t>17</a:t>
            </a:fld>
            <a:endParaRPr lang="en-US" sz="120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dirty="0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4923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18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579894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19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11960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2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583685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20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89308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21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276412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22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97253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23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519755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24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259416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25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939407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26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20022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27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091731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28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663803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29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53209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3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06206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30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937822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31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75231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32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0814551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33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181943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34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921801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35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634616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9F79FFAC-121C-475F-9A6C-3FAA31EA514F}" type="slidenum">
              <a:rPr lang="en-US" sz="1200"/>
              <a:pPr/>
              <a:t>36</a:t>
            </a:fld>
            <a:endParaRPr lang="en-US" sz="1200"/>
          </a:p>
        </p:txBody>
      </p:sp>
      <p:sp>
        <p:nvSpPr>
          <p:cNvPr id="21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15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66159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37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495406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38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5863329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EEB9BE89-D5EE-408B-A1B2-5371CA8C5D9C}" type="slidenum">
              <a:rPr lang="en-US" sz="1200"/>
              <a:pPr/>
              <a:t>39</a:t>
            </a:fld>
            <a:endParaRPr lang="en-US" sz="1200"/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87696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4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1134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5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32762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8301D28B-73B2-412F-917F-D4168E42A5E6}" type="slidenum">
              <a:rPr lang="en-US" sz="1200"/>
              <a:pPr/>
              <a:t>6</a:t>
            </a:fld>
            <a:endParaRPr lang="en-US" sz="1200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81993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0E642755-91A9-4F48-9427-E4C2A11AA3BD}" type="slidenum">
              <a:rPr lang="en-US" sz="1200"/>
              <a:pPr/>
              <a:t>7</a:t>
            </a:fld>
            <a:endParaRPr lang="en-US" sz="120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dirty="0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3590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0E642755-91A9-4F48-9427-E4C2A11AA3BD}" type="slidenum">
              <a:rPr lang="en-US" sz="1200"/>
              <a:pPr/>
              <a:t>8</a:t>
            </a:fld>
            <a:endParaRPr lang="en-US" sz="120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dirty="0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78412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fld id="{0E642755-91A9-4F48-9427-E4C2A11AA3BD}" type="slidenum">
              <a:rPr lang="en-US" sz="1200"/>
              <a:pPr/>
              <a:t>9</a:t>
            </a:fld>
            <a:endParaRPr lang="en-US" sz="1200"/>
          </a:p>
        </p:txBody>
      </p:sp>
      <p:sp>
        <p:nvSpPr>
          <p:cNvPr id="194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94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dirty="0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05742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Watermark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3" b="12773"/>
          <a:stretch>
            <a:fillRect/>
          </a:stretch>
        </p:blipFill>
        <p:spPr bwMode="auto">
          <a:xfrm>
            <a:off x="26988" y="765175"/>
            <a:ext cx="6467475" cy="609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8027988" y="6237288"/>
            <a:ext cx="184150" cy="36512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lnSpc>
                <a:spcPct val="90000"/>
              </a:lnSpc>
              <a:defRPr/>
            </a:pPr>
            <a:r>
              <a:rPr lang="en-US" sz="1000" smtClean="0">
                <a:solidFill>
                  <a:schemeClr val="bg1"/>
                </a:solidFill>
                <a:latin typeface="Univers" pitchFamily="34" charset="0"/>
              </a:rPr>
              <a:t/>
            </a:r>
            <a:br>
              <a:rPr lang="en-US" sz="1000" smtClean="0">
                <a:solidFill>
                  <a:schemeClr val="bg1"/>
                </a:solidFill>
                <a:latin typeface="Univers" pitchFamily="34" charset="0"/>
              </a:rPr>
            </a:br>
            <a:endParaRPr lang="en-US" sz="1000" smtClean="0">
              <a:solidFill>
                <a:schemeClr val="bg1"/>
              </a:solidFill>
              <a:latin typeface="Univers" pitchFamily="34" charset="0"/>
            </a:endParaRPr>
          </a:p>
        </p:txBody>
      </p:sp>
      <p:sp>
        <p:nvSpPr>
          <p:cNvPr id="6" name="Rectangle 7"/>
          <p:cNvSpPr>
            <a:spLocks noChangeArrowheads="1"/>
          </p:cNvSpPr>
          <p:nvPr/>
        </p:nvSpPr>
        <p:spPr bwMode="auto">
          <a:xfrm>
            <a:off x="6426200" y="4343400"/>
            <a:ext cx="523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defRPr/>
            </a:pPr>
            <a:r>
              <a:rPr lang="en-US" sz="1200" b="1" smtClean="0">
                <a:solidFill>
                  <a:srgbClr val="0C4B84"/>
                </a:solidFill>
              </a:rPr>
              <a:t> </a:t>
            </a:r>
            <a:endParaRPr lang="en-US" sz="2400" smtClean="0"/>
          </a:p>
        </p:txBody>
      </p:sp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7319963" y="4524375"/>
            <a:ext cx="52387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defRPr/>
            </a:pPr>
            <a:r>
              <a:rPr lang="en-US" sz="1200" b="1" smtClean="0">
                <a:solidFill>
                  <a:srgbClr val="0C4B84"/>
                </a:solidFill>
              </a:rPr>
              <a:t> </a:t>
            </a:r>
            <a:endParaRPr lang="en-US" sz="2400" smtClean="0"/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5280025" y="4802188"/>
            <a:ext cx="444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defRPr/>
            </a:pPr>
            <a:r>
              <a:rPr lang="en-US" sz="1000" smtClean="0">
                <a:solidFill>
                  <a:srgbClr val="000000"/>
                </a:solidFill>
              </a:rPr>
              <a:t> </a:t>
            </a:r>
            <a:endParaRPr lang="en-US" sz="2400" smtClean="0"/>
          </a:p>
        </p:txBody>
      </p:sp>
      <p:sp>
        <p:nvSpPr>
          <p:cNvPr id="9" name="AutoShape 18" descr="image002"/>
          <p:cNvSpPr>
            <a:spLocks noChangeAspect="1" noChangeArrowheads="1"/>
          </p:cNvSpPr>
          <p:nvPr userDrawn="1"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defRPr/>
            </a:pPr>
            <a:endParaRPr lang="en-GB" smtClean="0"/>
          </a:p>
        </p:txBody>
      </p:sp>
      <p:sp>
        <p:nvSpPr>
          <p:cNvPr id="10" name="AutoShape 20" descr="image002"/>
          <p:cNvSpPr>
            <a:spLocks noChangeAspect="1" noChangeArrowheads="1"/>
          </p:cNvSpPr>
          <p:nvPr userDrawn="1"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defRPr/>
            </a:pPr>
            <a:endParaRPr lang="en-GB" smtClean="0"/>
          </a:p>
        </p:txBody>
      </p:sp>
      <p:sp>
        <p:nvSpPr>
          <p:cNvPr id="11" name="AutoShape 23" descr="image002"/>
          <p:cNvSpPr>
            <a:spLocks noChangeAspect="1" noChangeArrowheads="1"/>
          </p:cNvSpPr>
          <p:nvPr userDrawn="1"/>
        </p:nvSpPr>
        <p:spPr bwMode="auto">
          <a:xfrm>
            <a:off x="200025" y="460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defRPr/>
            </a:pPr>
            <a:endParaRPr lang="en-GB" smtClean="0"/>
          </a:p>
        </p:txBody>
      </p:sp>
      <p:sp>
        <p:nvSpPr>
          <p:cNvPr id="12" name="AutoShape 25" descr="image002"/>
          <p:cNvSpPr>
            <a:spLocks noChangeAspect="1" noChangeArrowheads="1"/>
          </p:cNvSpPr>
          <p:nvPr userDrawn="1"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>
              <a:defRPr/>
            </a:pPr>
            <a:endParaRPr lang="en-GB" smtClean="0"/>
          </a:p>
        </p:txBody>
      </p:sp>
      <p:pic>
        <p:nvPicPr>
          <p:cNvPr id="13" name="Picture 26" descr="Picture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738" y="3132138"/>
            <a:ext cx="896937" cy="592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280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0" y="2130425"/>
            <a:ext cx="91440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 of presentation</a:t>
            </a:r>
          </a:p>
        </p:txBody>
      </p:sp>
      <p:sp>
        <p:nvSpPr>
          <p:cNvPr id="332810" name="Rectangle 10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>
            <a:noAutofit/>
          </a:bodyPr>
          <a:lstStyle>
            <a:lvl1pPr marL="0" indent="0" algn="ctr">
              <a:buFontTx/>
              <a:buNone/>
              <a:defRPr sz="2400"/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179388" y="6453188"/>
            <a:ext cx="3609975" cy="268287"/>
          </a:xfrm>
        </p:spPr>
        <p:txBody>
          <a:bodyPr/>
          <a:lstStyle>
            <a:lvl1pPr>
              <a:defRPr sz="1200"/>
            </a:lvl1pPr>
          </a:lstStyle>
          <a:p>
            <a:pPr>
              <a:defRPr/>
            </a:pPr>
            <a:r>
              <a:rPr lang="en-US"/>
              <a:t>Colombia, 23-24 September 2013</a:t>
            </a:r>
          </a:p>
        </p:txBody>
      </p:sp>
    </p:spTree>
    <p:extLst>
      <p:ext uri="{BB962C8B-B14F-4D97-AF65-F5344CB8AC3E}">
        <p14:creationId xmlns:p14="http://schemas.microsoft.com/office/powerpoint/2010/main" val="6277963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lombia, 23-24 September 2013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163162-D9D0-4A38-B6D0-67C2BC2A9E3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37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61261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61261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lombia, 23-24 September 2013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729F2E-3C36-4240-9E58-DAE039906926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1874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 and Content ov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8229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3938588"/>
            <a:ext cx="8229600" cy="2187575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z="1200">
                <a:latin typeface="Univers" pitchFamily="34" charset="0"/>
              </a:defRPr>
            </a:lvl1pPr>
          </a:lstStyle>
          <a:p>
            <a:pPr>
              <a:defRPr/>
            </a:pPr>
            <a:r>
              <a:rPr lang="en-US"/>
              <a:t>Colombia, 23-24 September 2013</a:t>
            </a: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747000" y="6453188"/>
            <a:ext cx="1366838" cy="288925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85C7F27-2945-4DBF-9F5E-CD49EB4A5483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5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lombia, 23-24 September 2013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039893-5609-4C79-B8F7-EC3855D6E3F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4517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lombia, 23-24 September 2013</a:t>
            </a: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93C6A5-BDC9-4704-A663-338AE81B471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4001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lombia, 23-24 September 2013</a:t>
            </a: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5B86D0-12A0-4A20-B554-D7EA93F375F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5465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lombia, 23-24 September 2013</a:t>
            </a:r>
          </a:p>
        </p:txBody>
      </p:sp>
      <p:sp>
        <p:nvSpPr>
          <p:cNvPr id="8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E35903-C551-41F9-ABC7-BA01AD8FDB0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3261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lombia, 23-24 September 2013</a:t>
            </a:r>
          </a:p>
        </p:txBody>
      </p:sp>
      <p:sp>
        <p:nvSpPr>
          <p:cNvPr id="4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4C032D-AC78-4992-B971-7FA2F3534E18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5327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lombia, 23-24 September 2013</a:t>
            </a:r>
          </a:p>
        </p:txBody>
      </p:sp>
      <p:sp>
        <p:nvSpPr>
          <p:cNvPr id="3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0CE7F0-4C10-4364-8F19-4E351882814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397633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lombia, 23-24 September 2013</a:t>
            </a: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17C30B-FAB9-4632-AC29-051A7528A86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2052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Colombia, 23-24 September 2013</a:t>
            </a: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2EB8A8-E20A-4BCA-8DEE-E54036C7D13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23889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0" descr="Watermark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23" b="12773"/>
          <a:stretch>
            <a:fillRect/>
          </a:stretch>
        </p:blipFill>
        <p:spPr bwMode="auto">
          <a:xfrm>
            <a:off x="0" y="765175"/>
            <a:ext cx="6443663" cy="609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79388" y="6453188"/>
            <a:ext cx="4032250" cy="312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Univers" pitchFamily="34" charset="0"/>
              </a:defRPr>
            </a:lvl1pPr>
          </a:lstStyle>
          <a:p>
            <a:pPr>
              <a:defRPr/>
            </a:pPr>
            <a:r>
              <a:rPr lang="en-US"/>
              <a:t>Colombia, 23-24 September 2013</a:t>
            </a:r>
          </a:p>
        </p:txBody>
      </p:sp>
      <p:sp>
        <p:nvSpPr>
          <p:cNvPr id="1060" name="Rectangle 3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751763" y="6453188"/>
            <a:ext cx="1366837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D898B0DF-0E66-40CA-AAFB-749E6F241E8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sp>
        <p:nvSpPr>
          <p:cNvPr id="1030" name="Rectangle 37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65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  <p:sldLayoutId id="2147484166" r:id="rId12"/>
  </p:sldLayoutIdLst>
  <p:timing>
    <p:tnLst>
      <p:par>
        <p:cTn id="1" dur="indefinite" restart="never" nodeType="tmRoot"/>
      </p:par>
    </p:tnLst>
  </p:timing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bg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75000"/>
        <a:buBlip>
          <a:blip r:embed="rId15"/>
        </a:buBlip>
        <a:defRPr sz="3200">
          <a:solidFill>
            <a:schemeClr val="bg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SzPct val="70000"/>
        <a:buFont typeface="ZapfDingbats BT" pitchFamily="18" charset="2"/>
        <a:buBlip>
          <a:blip r:embed="rId16"/>
        </a:buBlip>
        <a:defRPr sz="2800">
          <a:solidFill>
            <a:schemeClr val="bg2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15"/>
        </a:buBlip>
        <a:defRPr sz="2400">
          <a:solidFill>
            <a:schemeClr val="bg2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SzPct val="70000"/>
        <a:buFont typeface="ZapfDingbats BT" pitchFamily="18" charset="2"/>
        <a:buBlip>
          <a:blip r:embed="rId16"/>
        </a:buBlip>
        <a:defRPr sz="2000">
          <a:solidFill>
            <a:schemeClr val="bg2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15"/>
        </a:buBlip>
        <a:defRPr sz="2000">
          <a:solidFill>
            <a:schemeClr val="bg2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15"/>
        </a:buBlip>
        <a:defRPr sz="2000">
          <a:solidFill>
            <a:schemeClr val="bg2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15"/>
        </a:buBlip>
        <a:defRPr sz="2000">
          <a:solidFill>
            <a:schemeClr val="bg2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15"/>
        </a:buBlip>
        <a:defRPr sz="2000">
          <a:solidFill>
            <a:schemeClr val="bg2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SzPct val="60000"/>
        <a:buBlip>
          <a:blip r:embed="rId15"/>
        </a:buBlip>
        <a:defRPr sz="2000">
          <a:solidFill>
            <a:schemeClr val="bg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3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3.png"/><Relationship Id="rId5" Type="http://schemas.openxmlformats.org/officeDocument/2006/relationships/tags" Target="../tags/tag11.xml"/><Relationship Id="rId10" Type="http://schemas.openxmlformats.org/officeDocument/2006/relationships/image" Target="../media/image2.png"/><Relationship Id="rId4" Type="http://schemas.openxmlformats.org/officeDocument/2006/relationships/tags" Target="../tags/tag10.xml"/><Relationship Id="rId9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image" Target="../media/image3.png"/><Relationship Id="rId5" Type="http://schemas.openxmlformats.org/officeDocument/2006/relationships/tags" Target="../tags/tag18.xml"/><Relationship Id="rId10" Type="http://schemas.openxmlformats.org/officeDocument/2006/relationships/image" Target="../media/image2.png"/><Relationship Id="rId4" Type="http://schemas.openxmlformats.org/officeDocument/2006/relationships/tags" Target="../tags/tag17.xml"/><Relationship Id="rId9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3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2.xml"/><Relationship Id="rId7" Type="http://schemas.openxmlformats.org/officeDocument/2006/relationships/image" Target="../media/image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chart" Target="../charts/chart3.xml"/><Relationship Id="rId5" Type="http://schemas.openxmlformats.org/officeDocument/2006/relationships/tags" Target="../tags/tag38.xml"/><Relationship Id="rId10" Type="http://schemas.openxmlformats.org/officeDocument/2006/relationships/image" Target="../media/image3.png"/><Relationship Id="rId4" Type="http://schemas.openxmlformats.org/officeDocument/2006/relationships/tags" Target="../tags/tag37.xml"/><Relationship Id="rId9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3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chart" Target="../charts/chart4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image" Target="../media/image3.png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1" Type="http://schemas.openxmlformats.org/officeDocument/2006/relationships/image" Target="../media/image2.png"/><Relationship Id="rId5" Type="http://schemas.openxmlformats.org/officeDocument/2006/relationships/tags" Target="../tags/tag47.xml"/><Relationship Id="rId10" Type="http://schemas.openxmlformats.org/officeDocument/2006/relationships/notesSlide" Target="../notesSlides/notesSlide19.xml"/><Relationship Id="rId4" Type="http://schemas.openxmlformats.org/officeDocument/2006/relationships/tags" Target="../tags/tag46.xml"/><Relationship Id="rId9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63.xml"/><Relationship Id="rId13" Type="http://schemas.openxmlformats.org/officeDocument/2006/relationships/image" Target="../media/image3.png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image" Target="../media/image2.png"/><Relationship Id="rId17" Type="http://schemas.openxmlformats.org/officeDocument/2006/relationships/image" Target="../media/image17.gif"/><Relationship Id="rId2" Type="http://schemas.openxmlformats.org/officeDocument/2006/relationships/tags" Target="../tags/tag57.xml"/><Relationship Id="rId16" Type="http://schemas.openxmlformats.org/officeDocument/2006/relationships/image" Target="../media/image16.png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1" Type="http://schemas.openxmlformats.org/officeDocument/2006/relationships/notesSlide" Target="../notesSlides/notesSlide24.xml"/><Relationship Id="rId5" Type="http://schemas.openxmlformats.org/officeDocument/2006/relationships/tags" Target="../tags/tag60.xml"/><Relationship Id="rId15" Type="http://schemas.openxmlformats.org/officeDocument/2006/relationships/image" Target="../media/image15.png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4" Type="http://schemas.openxmlformats.org/officeDocument/2006/relationships/image" Target="../media/image1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16.png"/><Relationship Id="rId3" Type="http://schemas.openxmlformats.org/officeDocument/2006/relationships/tags" Target="../tags/tag67.xml"/><Relationship Id="rId7" Type="http://schemas.openxmlformats.org/officeDocument/2006/relationships/notesSlide" Target="../notesSlides/notesSlide25.xml"/><Relationship Id="rId12" Type="http://schemas.openxmlformats.org/officeDocument/2006/relationships/image" Target="../media/image15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4.png"/><Relationship Id="rId5" Type="http://schemas.openxmlformats.org/officeDocument/2006/relationships/tags" Target="../tags/tag69.xml"/><Relationship Id="rId10" Type="http://schemas.openxmlformats.org/officeDocument/2006/relationships/image" Target="../media/image18.jpeg"/><Relationship Id="rId4" Type="http://schemas.openxmlformats.org/officeDocument/2006/relationships/tags" Target="../tags/tag68.xml"/><Relationship Id="rId9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15.png"/><Relationship Id="rId3" Type="http://schemas.openxmlformats.org/officeDocument/2006/relationships/tags" Target="../tags/tag72.xml"/><Relationship Id="rId7" Type="http://schemas.openxmlformats.org/officeDocument/2006/relationships/notesSlide" Target="../notesSlides/notesSlide26.xml"/><Relationship Id="rId12" Type="http://schemas.openxmlformats.org/officeDocument/2006/relationships/image" Target="../media/image14.png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0.jpeg"/><Relationship Id="rId5" Type="http://schemas.openxmlformats.org/officeDocument/2006/relationships/tags" Target="../tags/tag74.xml"/><Relationship Id="rId10" Type="http://schemas.openxmlformats.org/officeDocument/2006/relationships/image" Target="../media/image19.jpeg"/><Relationship Id="rId4" Type="http://schemas.openxmlformats.org/officeDocument/2006/relationships/tags" Target="../tags/tag73.xml"/><Relationship Id="rId9" Type="http://schemas.openxmlformats.org/officeDocument/2006/relationships/image" Target="../media/image3.png"/><Relationship Id="rId14" Type="http://schemas.openxmlformats.org/officeDocument/2006/relationships/image" Target="../media/image1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7.xml"/><Relationship Id="rId7" Type="http://schemas.openxmlformats.org/officeDocument/2006/relationships/image" Target="../media/image2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7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81.xml"/><Relationship Id="rId7" Type="http://schemas.openxmlformats.org/officeDocument/2006/relationships/image" Target="../media/image2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18" Type="http://schemas.openxmlformats.org/officeDocument/2006/relationships/image" Target="../media/image2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17" Type="http://schemas.openxmlformats.org/officeDocument/2006/relationships/notesSlide" Target="../notesSlides/notesSlide32.xml"/><Relationship Id="rId2" Type="http://schemas.openxmlformats.org/officeDocument/2006/relationships/tags" Target="../tags/tag84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tags" Target="../tags/tag97.xml"/><Relationship Id="rId10" Type="http://schemas.openxmlformats.org/officeDocument/2006/relationships/tags" Target="../tags/tag92.xml"/><Relationship Id="rId19" Type="http://schemas.openxmlformats.org/officeDocument/2006/relationships/image" Target="../media/image3.png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tags" Target="../tags/tag96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0.xml"/><Relationship Id="rId7" Type="http://schemas.openxmlformats.org/officeDocument/2006/relationships/image" Target="../media/image2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notesSlide" Target="../notesSlides/notesSlide3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1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4.xml"/><Relationship Id="rId7" Type="http://schemas.openxmlformats.org/officeDocument/2006/relationships/image" Target="../media/image2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notesSlide" Target="../notesSlides/notesSlide34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5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08.xml"/><Relationship Id="rId7" Type="http://schemas.openxmlformats.org/officeDocument/2006/relationships/image" Target="../media/image2.pn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notesSlide" Target="../notesSlides/notesSlide35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09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7.xml"/><Relationship Id="rId3" Type="http://schemas.openxmlformats.org/officeDocument/2006/relationships/tags" Target="../tags/tag112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10" Type="http://schemas.openxmlformats.org/officeDocument/2006/relationships/image" Target="../media/image3.png"/><Relationship Id="rId4" Type="http://schemas.openxmlformats.org/officeDocument/2006/relationships/tags" Target="../tags/tag113.xml"/><Relationship Id="rId9" Type="http://schemas.openxmlformats.org/officeDocument/2006/relationships/image" Target="../media/image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2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9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0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2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/>
          <p:cNvSpPr>
            <a:spLocks noGrp="1" noChangeArrowheads="1"/>
          </p:cNvSpPr>
          <p:nvPr>
            <p:ph type="dt" sz="quarter" idx="10"/>
          </p:nvPr>
        </p:nvSpPr>
        <p:spPr>
          <a:xfrm>
            <a:off x="163513" y="6184900"/>
            <a:ext cx="3184525" cy="4746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6147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5400" y="3213100"/>
            <a:ext cx="9144000" cy="1152525"/>
          </a:xfrm>
        </p:spPr>
        <p:txBody>
          <a:bodyPr/>
          <a:lstStyle/>
          <a:p>
            <a:r>
              <a:rPr lang="es-ES" smtClean="0"/>
              <a:t>Nuevas formas de aproximarse a la medición de calidad en servicios móviles </a:t>
            </a:r>
            <a:r>
              <a:rPr lang="es-ES" b="0" smtClean="0"/>
              <a:t>	</a:t>
            </a:r>
            <a:endParaRPr lang="en-US" smtClean="0"/>
          </a:p>
        </p:txBody>
      </p:sp>
      <p:sp>
        <p:nvSpPr>
          <p:cNvPr id="6148" name="Rectangle 11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581525"/>
            <a:ext cx="6400800" cy="1457325"/>
          </a:xfrm>
        </p:spPr>
        <p:txBody>
          <a:bodyPr/>
          <a:lstStyle/>
          <a:p>
            <a:r>
              <a:rPr lang="en-GB" b="1" smtClean="0"/>
              <a:t>Ernesto M. Flores-Roux</a:t>
            </a:r>
          </a:p>
          <a:p>
            <a:r>
              <a:rPr lang="en-GB" b="1" smtClean="0"/>
              <a:t>Centro de Investigación y Docencia Económicas – CIDE </a:t>
            </a:r>
          </a:p>
        </p:txBody>
      </p:sp>
      <p:sp>
        <p:nvSpPr>
          <p:cNvPr id="6149" name="Rectangle 13"/>
          <p:cNvSpPr>
            <a:spLocks noChangeArrowheads="1"/>
          </p:cNvSpPr>
          <p:nvPr/>
        </p:nvSpPr>
        <p:spPr bwMode="auto">
          <a:xfrm>
            <a:off x="0" y="908050"/>
            <a:ext cx="9144000" cy="2233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en-US" sz="2400" b="1"/>
              <a:t>CITEL (PCC.I)/ ITU Forum on Information and</a:t>
            </a:r>
            <a:br>
              <a:rPr lang="en-US" sz="2400" b="1"/>
            </a:br>
            <a:r>
              <a:rPr lang="en-US" sz="2400" b="1"/>
              <a:t>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en-US" sz="2400" b="1"/>
              <a:t>Communication Technology Service: </a:t>
            </a:r>
            <a:br>
              <a:rPr lang="en-US" sz="2400" b="1"/>
            </a:br>
            <a:endParaRPr lang="en-US" sz="2400" b="1">
              <a:solidFill>
                <a:srgbClr val="22228B"/>
              </a:solidFill>
            </a:endParaRPr>
          </a:p>
          <a:p>
            <a:pPr algn="ctr"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en-US" sz="2400" b="1">
                <a:solidFill>
                  <a:srgbClr val="22228B"/>
                </a:solidFill>
              </a:rPr>
              <a:t>Quality, Control and Surveillance</a:t>
            </a:r>
            <a:br>
              <a:rPr lang="en-US" sz="2400" b="1">
                <a:solidFill>
                  <a:srgbClr val="22228B"/>
                </a:solidFill>
              </a:rPr>
            </a:br>
            <a:endParaRPr lang="en-US" sz="2400" b="1">
              <a:solidFill>
                <a:srgbClr val="22228B"/>
              </a:solidFill>
            </a:endParaRPr>
          </a:p>
          <a:p>
            <a:pPr algn="ctr"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en-US" sz="1800" b="1">
                <a:solidFill>
                  <a:srgbClr val="22228B"/>
                </a:solidFill>
              </a:rPr>
              <a:t>(Cartagena de Indias, Colombia, 23-24 September 2013)</a:t>
            </a:r>
            <a:endParaRPr lang="en-US" sz="1800" b="1"/>
          </a:p>
        </p:txBody>
      </p:sp>
      <p:sp>
        <p:nvSpPr>
          <p:cNvPr id="6150" name="AutoShape 18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endParaRPr lang="en-GB">
              <a:solidFill>
                <a:schemeClr val="tx1"/>
              </a:solidFill>
            </a:endParaRPr>
          </a:p>
        </p:txBody>
      </p:sp>
      <p:sp>
        <p:nvSpPr>
          <p:cNvPr id="6151" name="AutoShape 20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endParaRPr lang="en-GB">
              <a:solidFill>
                <a:schemeClr val="tx1"/>
              </a:solidFill>
            </a:endParaRPr>
          </a:p>
        </p:txBody>
      </p:sp>
      <p:sp>
        <p:nvSpPr>
          <p:cNvPr id="6152" name="AutoShape 22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endParaRPr lang="en-GB">
              <a:solidFill>
                <a:schemeClr val="tx1"/>
              </a:solidFill>
            </a:endParaRPr>
          </a:p>
        </p:txBody>
      </p:sp>
      <p:sp>
        <p:nvSpPr>
          <p:cNvPr id="6153" name="AutoShape 24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endParaRPr lang="en-GB">
              <a:solidFill>
                <a:schemeClr val="tx1"/>
              </a:solidFill>
            </a:endParaRPr>
          </a:p>
        </p:txBody>
      </p:sp>
      <p:sp>
        <p:nvSpPr>
          <p:cNvPr id="6154" name="Rectangle 26"/>
          <p:cNvSpPr>
            <a:spLocks noChangeArrowheads="1"/>
          </p:cNvSpPr>
          <p:nvPr/>
        </p:nvSpPr>
        <p:spPr bwMode="auto">
          <a:xfrm>
            <a:off x="0" y="292893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endParaRPr lang="en-GB">
              <a:solidFill>
                <a:schemeClr val="tx1"/>
              </a:solidFill>
            </a:endParaRPr>
          </a:p>
        </p:txBody>
      </p:sp>
      <p:pic>
        <p:nvPicPr>
          <p:cNvPr id="6155" name="Picture 16" descr="ITUserie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64" b="69327"/>
          <a:stretch>
            <a:fillRect/>
          </a:stretch>
        </p:blipFill>
        <p:spPr bwMode="auto">
          <a:xfrm>
            <a:off x="6948488" y="244475"/>
            <a:ext cx="16383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6" name="Picture 12" descr="Citel_logo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317500"/>
            <a:ext cx="2082800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7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475" y="244475"/>
            <a:ext cx="2085975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8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638" y="5100638"/>
            <a:ext cx="646112" cy="81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8435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DF655DFC-F8C3-414F-9AE6-F43C52934750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1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43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en </a:t>
            </a:r>
            <a:r>
              <a:rPr lang="en-US" dirty="0" err="1" smtClean="0"/>
              <a:t>Brasil</a:t>
            </a:r>
            <a:r>
              <a:rPr lang="en-US" dirty="0" smtClean="0"/>
              <a:t> …</a:t>
            </a:r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6"/>
          <a:srcRect l="12920" t="13579" r="14027" b="17516"/>
          <a:stretch/>
        </p:blipFill>
        <p:spPr>
          <a:xfrm>
            <a:off x="35496" y="1095716"/>
            <a:ext cx="9000000" cy="4772727"/>
          </a:xfrm>
          <a:prstGeom prst="rect">
            <a:avLst/>
          </a:prstGeom>
        </p:spPr>
      </p:pic>
      <p:sp>
        <p:nvSpPr>
          <p:cNvPr id="12" name="McK 4.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112713" y="6262688"/>
            <a:ext cx="8197851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s-MX" sz="1400" dirty="0">
                <a:latin typeface="Univers" pitchFamily="34" charset="0"/>
                <a:cs typeface="Arial" panose="020B0604020202020204" pitchFamily="34" charset="0"/>
              </a:rPr>
              <a:t>	      Fuente: </a:t>
            </a:r>
            <a:r>
              <a:rPr lang="es-MX" sz="1400" dirty="0" err="1" smtClean="0">
                <a:latin typeface="Univers" pitchFamily="34" charset="0"/>
                <a:cs typeface="Arial" panose="020B0604020202020204" pitchFamily="34" charset="0"/>
              </a:rPr>
              <a:t>Câmara</a:t>
            </a:r>
            <a:r>
              <a:rPr lang="es-MX" sz="1400" dirty="0" smtClean="0">
                <a:latin typeface="Univers" pitchFamily="34" charset="0"/>
                <a:cs typeface="Arial" panose="020B0604020202020204" pitchFamily="34" charset="0"/>
              </a:rPr>
              <a:t> dos Deputados, Brasil; 28 de febrero de 2013 </a:t>
            </a:r>
            <a:endParaRPr lang="es-MX" sz="1400" dirty="0">
              <a:latin typeface="Univers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1514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10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1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10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2291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10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1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10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86A48588-B96B-4D3F-A16D-2A204E998497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11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229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La UIT reconoce que la QoS tiene 4 dimensiones</a:t>
            </a:r>
          </a:p>
        </p:txBody>
      </p:sp>
      <p:grpSp>
        <p:nvGrpSpPr>
          <p:cNvPr id="12293" name="Group 1"/>
          <p:cNvGrpSpPr>
            <a:grpSpLocks noChangeAspect="1"/>
          </p:cNvGrpSpPr>
          <p:nvPr/>
        </p:nvGrpSpPr>
        <p:grpSpPr bwMode="auto">
          <a:xfrm>
            <a:off x="1846263" y="1628775"/>
            <a:ext cx="5470525" cy="3944938"/>
            <a:chOff x="1331640" y="1901195"/>
            <a:chExt cx="3944598" cy="2844000"/>
          </a:xfrm>
        </p:grpSpPr>
        <p:grpSp>
          <p:nvGrpSpPr>
            <p:cNvPr id="12295" name="15 Grupo"/>
            <p:cNvGrpSpPr>
              <a:grpSpLocks/>
            </p:cNvGrpSpPr>
            <p:nvPr/>
          </p:nvGrpSpPr>
          <p:grpSpPr bwMode="auto">
            <a:xfrm>
              <a:off x="1637888" y="2672820"/>
              <a:ext cx="1306800" cy="617760"/>
              <a:chOff x="1691680" y="2077979"/>
              <a:chExt cx="1980000" cy="936104"/>
            </a:xfrm>
          </p:grpSpPr>
          <p:sp>
            <p:nvSpPr>
              <p:cNvPr id="63" name="4 Rectángulo redondeado"/>
              <p:cNvSpPr/>
              <p:nvPr/>
            </p:nvSpPr>
            <p:spPr>
              <a:xfrm>
                <a:off x="1692481" y="2077593"/>
                <a:ext cx="1978924" cy="936486"/>
              </a:xfrm>
              <a:prstGeom prst="roundRect">
                <a:avLst/>
              </a:prstGeom>
              <a:solidFill>
                <a:srgbClr val="322ADA"/>
              </a:solidFill>
              <a:ln>
                <a:solidFill>
                  <a:srgbClr val="322AD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s-MX" sz="1600"/>
              </a:p>
            </p:txBody>
          </p:sp>
          <p:sp>
            <p:nvSpPr>
              <p:cNvPr id="64" name="Rectangle 4"/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782668" y="2282233"/>
                <a:ext cx="1798549" cy="6538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350" eaLnBrk="1" hangingPunct="1">
                  <a:defRPr/>
                </a:pPr>
                <a:r>
                  <a:rPr lang="es-MX" sz="1400" b="1" kern="0" dirty="0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Necesidades de</a:t>
                </a:r>
              </a:p>
              <a:p>
                <a:pPr algn="ctr" defTabSz="895350" eaLnBrk="1" hangingPunct="1">
                  <a:defRPr/>
                </a:pPr>
                <a:r>
                  <a:rPr lang="es-MX" sz="1400" b="1" kern="0" dirty="0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 </a:t>
                </a:r>
                <a:r>
                  <a:rPr lang="es-MX" sz="1400" b="1" kern="0" dirty="0" err="1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QoS</a:t>
                </a:r>
                <a:r>
                  <a:rPr lang="es-MX" sz="1400" b="1" kern="0" dirty="0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 del cliente</a:t>
                </a:r>
              </a:p>
            </p:txBody>
          </p:sp>
        </p:grpSp>
        <p:grpSp>
          <p:nvGrpSpPr>
            <p:cNvPr id="12296" name="16 Grupo"/>
            <p:cNvGrpSpPr>
              <a:grpSpLocks/>
            </p:cNvGrpSpPr>
            <p:nvPr/>
          </p:nvGrpSpPr>
          <p:grpSpPr bwMode="auto">
            <a:xfrm>
              <a:off x="3643583" y="2672820"/>
              <a:ext cx="1306800" cy="617760"/>
              <a:chOff x="4284176" y="2141240"/>
              <a:chExt cx="1980000" cy="936104"/>
            </a:xfrm>
          </p:grpSpPr>
          <p:sp>
            <p:nvSpPr>
              <p:cNvPr id="61" name="6 Rectángulo redondeado"/>
              <p:cNvSpPr/>
              <p:nvPr/>
            </p:nvSpPr>
            <p:spPr>
              <a:xfrm>
                <a:off x="4284674" y="2140854"/>
                <a:ext cx="1978924" cy="936486"/>
              </a:xfrm>
              <a:prstGeom prst="roundRect">
                <a:avLst/>
              </a:prstGeom>
              <a:solidFill>
                <a:srgbClr val="322ADA"/>
              </a:solidFill>
              <a:ln>
                <a:solidFill>
                  <a:srgbClr val="322AD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s-MX" sz="1600"/>
              </a:p>
            </p:txBody>
          </p:sp>
          <p:sp>
            <p:nvSpPr>
              <p:cNvPr id="62" name="Rectangle 4"/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331502" y="2345494"/>
                <a:ext cx="1888737" cy="6538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350" eaLnBrk="1" hangingPunct="1">
                  <a:defRPr/>
                </a:pPr>
                <a:r>
                  <a:rPr lang="es-MX" sz="1400" b="1" kern="0" dirty="0" err="1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QoS</a:t>
                </a:r>
                <a:r>
                  <a:rPr lang="es-MX" sz="1400" b="1" kern="0" dirty="0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 ofrecida por el proveedor</a:t>
                </a:r>
              </a:p>
            </p:txBody>
          </p:sp>
        </p:grpSp>
        <p:grpSp>
          <p:nvGrpSpPr>
            <p:cNvPr id="12297" name="18 Grupo"/>
            <p:cNvGrpSpPr>
              <a:grpSpLocks/>
            </p:cNvGrpSpPr>
            <p:nvPr/>
          </p:nvGrpSpPr>
          <p:grpSpPr bwMode="auto">
            <a:xfrm>
              <a:off x="1637888" y="3945297"/>
              <a:ext cx="1306800" cy="617760"/>
              <a:chOff x="2411760" y="3861048"/>
              <a:chExt cx="1980000" cy="936104"/>
            </a:xfrm>
          </p:grpSpPr>
          <p:sp>
            <p:nvSpPr>
              <p:cNvPr id="59" name="10 Rectángulo redondeado"/>
              <p:cNvSpPr/>
              <p:nvPr/>
            </p:nvSpPr>
            <p:spPr>
              <a:xfrm>
                <a:off x="2412561" y="3860920"/>
                <a:ext cx="1978924" cy="936486"/>
              </a:xfrm>
              <a:prstGeom prst="roundRect">
                <a:avLst/>
              </a:prstGeom>
              <a:solidFill>
                <a:srgbClr val="322ADA"/>
              </a:solidFill>
              <a:ln>
                <a:solidFill>
                  <a:srgbClr val="322AD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s-MX" sz="1600"/>
              </a:p>
            </p:txBody>
          </p:sp>
          <p:sp>
            <p:nvSpPr>
              <p:cNvPr id="60" name="Rectangle 4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2502748" y="4065560"/>
                <a:ext cx="1798549" cy="6538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350" eaLnBrk="1" hangingPunct="1">
                  <a:defRPr/>
                </a:pPr>
                <a:r>
                  <a:rPr lang="es-MX" sz="1400" b="1" kern="0" dirty="0" err="1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QoS</a:t>
                </a:r>
                <a:r>
                  <a:rPr lang="es-MX" sz="1400" b="1" kern="0" dirty="0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 percibida por el cliente</a:t>
                </a:r>
              </a:p>
            </p:txBody>
          </p:sp>
        </p:grpSp>
        <p:grpSp>
          <p:nvGrpSpPr>
            <p:cNvPr id="12298" name="17 Grupo"/>
            <p:cNvGrpSpPr>
              <a:grpSpLocks/>
            </p:cNvGrpSpPr>
            <p:nvPr/>
          </p:nvGrpSpPr>
          <p:grpSpPr bwMode="auto">
            <a:xfrm>
              <a:off x="3643583" y="3945297"/>
              <a:ext cx="1306800" cy="617760"/>
              <a:chOff x="5076056" y="3861048"/>
              <a:chExt cx="1980000" cy="936104"/>
            </a:xfrm>
          </p:grpSpPr>
          <p:sp>
            <p:nvSpPr>
              <p:cNvPr id="57" name="13 Rectángulo redondeado"/>
              <p:cNvSpPr/>
              <p:nvPr/>
            </p:nvSpPr>
            <p:spPr>
              <a:xfrm>
                <a:off x="5076554" y="3860920"/>
                <a:ext cx="1978924" cy="936486"/>
              </a:xfrm>
              <a:prstGeom prst="roundRect">
                <a:avLst/>
              </a:prstGeom>
              <a:solidFill>
                <a:srgbClr val="322ADA"/>
              </a:solidFill>
              <a:ln>
                <a:solidFill>
                  <a:srgbClr val="322AD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s-MX" sz="1600"/>
              </a:p>
            </p:txBody>
          </p:sp>
          <p:sp>
            <p:nvSpPr>
              <p:cNvPr id="58" name="Rectangle 4"/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5123382" y="4065560"/>
                <a:ext cx="1888737" cy="6538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350" eaLnBrk="1" hangingPunct="1">
                  <a:defRPr/>
                </a:pPr>
                <a:r>
                  <a:rPr lang="es-MX" sz="1400" b="1" kern="0" dirty="0" err="1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QoS</a:t>
                </a:r>
                <a:r>
                  <a:rPr lang="es-MX" sz="1400" b="1" kern="0" dirty="0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 conseguida por el proveedor</a:t>
                </a:r>
              </a:p>
            </p:txBody>
          </p:sp>
        </p:grpSp>
        <p:sp>
          <p:nvSpPr>
            <p:cNvPr id="48" name="19 Flecha derecha"/>
            <p:cNvSpPr/>
            <p:nvPr/>
          </p:nvSpPr>
          <p:spPr>
            <a:xfrm flipH="1">
              <a:off x="3042950" y="4088271"/>
              <a:ext cx="521978" cy="331895"/>
            </a:xfrm>
            <a:prstGeom prst="rightArrow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 sz="1600"/>
            </a:p>
          </p:txBody>
        </p:sp>
        <p:sp>
          <p:nvSpPr>
            <p:cNvPr id="49" name="20 Flecha derecha"/>
            <p:cNvSpPr/>
            <p:nvPr/>
          </p:nvSpPr>
          <p:spPr>
            <a:xfrm rot="5400000" flipH="1">
              <a:off x="2044260" y="3451343"/>
              <a:ext cx="523021" cy="331960"/>
            </a:xfrm>
            <a:prstGeom prst="rightArrow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 sz="1600"/>
            </a:p>
          </p:txBody>
        </p:sp>
        <p:sp>
          <p:nvSpPr>
            <p:cNvPr id="50" name="21 Flecha derecha"/>
            <p:cNvSpPr/>
            <p:nvPr/>
          </p:nvSpPr>
          <p:spPr>
            <a:xfrm>
              <a:off x="3042950" y="2804180"/>
              <a:ext cx="521978" cy="333039"/>
            </a:xfrm>
            <a:prstGeom prst="rightArrow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 sz="1600"/>
            </a:p>
          </p:txBody>
        </p:sp>
        <p:sp>
          <p:nvSpPr>
            <p:cNvPr id="51" name="22 Flecha derecha"/>
            <p:cNvSpPr/>
            <p:nvPr/>
          </p:nvSpPr>
          <p:spPr>
            <a:xfrm rot="16200000" flipH="1">
              <a:off x="4035446" y="3450771"/>
              <a:ext cx="523021" cy="333105"/>
            </a:xfrm>
            <a:prstGeom prst="rightArrow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 sz="1600"/>
            </a:p>
          </p:txBody>
        </p:sp>
        <p:sp>
          <p:nvSpPr>
            <p:cNvPr id="52" name="Rectangle 4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96795" y="2108344"/>
              <a:ext cx="1188187" cy="246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defTabSz="895350" eaLnBrk="1" hangingPunct="1">
                <a:defRPr/>
              </a:pPr>
              <a:r>
                <a:rPr lang="es-MX" sz="1600" b="1" kern="0" dirty="0">
                  <a:ea typeface="+mj-ea"/>
                  <a:cs typeface="Arial" pitchFamily="34" charset="0"/>
                </a:rPr>
                <a:t>Cliente</a:t>
              </a:r>
            </a:p>
          </p:txBody>
        </p:sp>
        <p:sp>
          <p:nvSpPr>
            <p:cNvPr id="53" name="Rectangle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703435" y="1996186"/>
              <a:ext cx="1187042" cy="4921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defTabSz="895350" eaLnBrk="1" hangingPunct="1">
                <a:defRPr/>
              </a:pPr>
              <a:r>
                <a:rPr lang="es-MX" sz="1600" b="1" kern="0" dirty="0">
                  <a:ea typeface="+mj-ea"/>
                  <a:cs typeface="Arial" pitchFamily="34" charset="0"/>
                </a:rPr>
                <a:t>Proveedor de servicio</a:t>
              </a:r>
            </a:p>
          </p:txBody>
        </p:sp>
        <p:sp>
          <p:nvSpPr>
            <p:cNvPr id="54" name="25 Rectángulo"/>
            <p:cNvSpPr/>
            <p:nvPr/>
          </p:nvSpPr>
          <p:spPr>
            <a:xfrm>
              <a:off x="1331640" y="1901195"/>
              <a:ext cx="3944598" cy="284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 sz="1600"/>
            </a:p>
          </p:txBody>
        </p:sp>
        <p:cxnSp>
          <p:nvCxnSpPr>
            <p:cNvPr id="55" name="27 Conector recto"/>
            <p:cNvCxnSpPr/>
            <p:nvPr/>
          </p:nvCxnSpPr>
          <p:spPr>
            <a:xfrm>
              <a:off x="3299360" y="1901195"/>
              <a:ext cx="0" cy="284400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28 Conector recto"/>
            <p:cNvCxnSpPr/>
            <p:nvPr/>
          </p:nvCxnSpPr>
          <p:spPr>
            <a:xfrm rot="16200000">
              <a:off x="3303939" y="546908"/>
              <a:ext cx="0" cy="394459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294" name="McK 4.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112713" y="6262688"/>
            <a:ext cx="8197851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s-MX" sz="1400">
                <a:latin typeface="Univers" pitchFamily="34" charset="0"/>
                <a:cs typeface="Arial" panose="020B0604020202020204" pitchFamily="34" charset="0"/>
              </a:rPr>
              <a:t>	      Fuente: Recomendación ITU-TE.800 (09/200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10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1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10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4339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10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1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10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742A105D-D60F-451E-81DC-80C87B22ABAB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1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434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n embargo, </a:t>
            </a:r>
            <a:r>
              <a:rPr lang="en-US" dirty="0" err="1" smtClean="0"/>
              <a:t>sólo</a:t>
            </a:r>
            <a:r>
              <a:rPr lang="en-US" dirty="0" smtClean="0"/>
              <a:t> </a:t>
            </a:r>
            <a:r>
              <a:rPr lang="en-US" dirty="0" err="1" smtClean="0"/>
              <a:t>una</a:t>
            </a:r>
            <a:r>
              <a:rPr lang="en-US" dirty="0" smtClean="0"/>
              <a:t> </a:t>
            </a:r>
            <a:r>
              <a:rPr lang="en-US" dirty="0" err="1" smtClean="0"/>
              <a:t>puede</a:t>
            </a:r>
            <a:r>
              <a:rPr lang="en-US" dirty="0" smtClean="0"/>
              <a:t> </a:t>
            </a:r>
            <a:r>
              <a:rPr lang="en-US" dirty="0" err="1" smtClean="0"/>
              <a:t>medirse</a:t>
            </a:r>
            <a:r>
              <a:rPr lang="en-US" dirty="0" smtClean="0"/>
              <a:t> “exacta” y </a:t>
            </a:r>
            <a:r>
              <a:rPr lang="en-US" dirty="0" err="1" smtClean="0"/>
              <a:t>técnicamente</a:t>
            </a:r>
            <a:endParaRPr lang="en-US" dirty="0" smtClean="0"/>
          </a:p>
        </p:txBody>
      </p:sp>
      <p:grpSp>
        <p:nvGrpSpPr>
          <p:cNvPr id="14341" name="Group 1"/>
          <p:cNvGrpSpPr>
            <a:grpSpLocks noChangeAspect="1"/>
          </p:cNvGrpSpPr>
          <p:nvPr/>
        </p:nvGrpSpPr>
        <p:grpSpPr bwMode="auto">
          <a:xfrm>
            <a:off x="539552" y="1628775"/>
            <a:ext cx="5470525" cy="3944938"/>
            <a:chOff x="1331640" y="1901195"/>
            <a:chExt cx="3944598" cy="2844000"/>
          </a:xfrm>
        </p:grpSpPr>
        <p:grpSp>
          <p:nvGrpSpPr>
            <p:cNvPr id="14343" name="15 Grupo"/>
            <p:cNvGrpSpPr>
              <a:grpSpLocks/>
            </p:cNvGrpSpPr>
            <p:nvPr/>
          </p:nvGrpSpPr>
          <p:grpSpPr bwMode="auto">
            <a:xfrm>
              <a:off x="1637888" y="2672820"/>
              <a:ext cx="1306800" cy="617760"/>
              <a:chOff x="1691680" y="2077979"/>
              <a:chExt cx="1980000" cy="936104"/>
            </a:xfrm>
          </p:grpSpPr>
          <p:sp>
            <p:nvSpPr>
              <p:cNvPr id="63" name="4 Rectángulo redondeado"/>
              <p:cNvSpPr/>
              <p:nvPr/>
            </p:nvSpPr>
            <p:spPr>
              <a:xfrm>
                <a:off x="1692481" y="2077593"/>
                <a:ext cx="1978924" cy="936486"/>
              </a:xfrm>
              <a:prstGeom prst="roundRect">
                <a:avLst/>
              </a:prstGeom>
              <a:solidFill>
                <a:srgbClr val="322ADA"/>
              </a:solidFill>
              <a:ln>
                <a:solidFill>
                  <a:srgbClr val="322AD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s-MX" sz="1600"/>
              </a:p>
            </p:txBody>
          </p:sp>
          <p:sp>
            <p:nvSpPr>
              <p:cNvPr id="64" name="Rectangle 4"/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1782668" y="2282233"/>
                <a:ext cx="1798549" cy="6538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350" eaLnBrk="1" hangingPunct="1">
                  <a:defRPr/>
                </a:pPr>
                <a:r>
                  <a:rPr lang="es-MX" sz="1400" b="1" kern="0" dirty="0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Necesidades de</a:t>
                </a:r>
              </a:p>
              <a:p>
                <a:pPr algn="ctr" defTabSz="895350" eaLnBrk="1" hangingPunct="1">
                  <a:defRPr/>
                </a:pPr>
                <a:r>
                  <a:rPr lang="es-MX" sz="1400" b="1" kern="0" dirty="0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 </a:t>
                </a:r>
                <a:r>
                  <a:rPr lang="es-MX" sz="1400" b="1" kern="0" dirty="0" err="1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QoS</a:t>
                </a:r>
                <a:r>
                  <a:rPr lang="es-MX" sz="1400" b="1" kern="0" dirty="0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 del cliente</a:t>
                </a:r>
              </a:p>
            </p:txBody>
          </p:sp>
        </p:grpSp>
        <p:grpSp>
          <p:nvGrpSpPr>
            <p:cNvPr id="14344" name="16 Grupo"/>
            <p:cNvGrpSpPr>
              <a:grpSpLocks/>
            </p:cNvGrpSpPr>
            <p:nvPr/>
          </p:nvGrpSpPr>
          <p:grpSpPr bwMode="auto">
            <a:xfrm>
              <a:off x="3643583" y="2672820"/>
              <a:ext cx="1306800" cy="617760"/>
              <a:chOff x="4284176" y="2141240"/>
              <a:chExt cx="1980000" cy="936104"/>
            </a:xfrm>
          </p:grpSpPr>
          <p:sp>
            <p:nvSpPr>
              <p:cNvPr id="61" name="6 Rectángulo redondeado"/>
              <p:cNvSpPr/>
              <p:nvPr/>
            </p:nvSpPr>
            <p:spPr>
              <a:xfrm>
                <a:off x="4284674" y="2140854"/>
                <a:ext cx="1978924" cy="936486"/>
              </a:xfrm>
              <a:prstGeom prst="roundRect">
                <a:avLst/>
              </a:prstGeom>
              <a:solidFill>
                <a:srgbClr val="322ADA"/>
              </a:solidFill>
              <a:ln>
                <a:solidFill>
                  <a:srgbClr val="322AD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s-MX" sz="1600"/>
              </a:p>
            </p:txBody>
          </p:sp>
          <p:sp>
            <p:nvSpPr>
              <p:cNvPr id="62" name="Rectangle 4"/>
              <p:cNvSpPr txBox="1"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331502" y="2345494"/>
                <a:ext cx="1888737" cy="6538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350" eaLnBrk="1" hangingPunct="1">
                  <a:defRPr/>
                </a:pPr>
                <a:r>
                  <a:rPr lang="es-MX" sz="1400" b="1" kern="0" dirty="0" err="1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QoS</a:t>
                </a:r>
                <a:r>
                  <a:rPr lang="es-MX" sz="1400" b="1" kern="0" dirty="0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 ofrecida por el proveedor</a:t>
                </a:r>
              </a:p>
            </p:txBody>
          </p:sp>
        </p:grpSp>
        <p:grpSp>
          <p:nvGrpSpPr>
            <p:cNvPr id="14345" name="18 Grupo"/>
            <p:cNvGrpSpPr>
              <a:grpSpLocks/>
            </p:cNvGrpSpPr>
            <p:nvPr/>
          </p:nvGrpSpPr>
          <p:grpSpPr bwMode="auto">
            <a:xfrm>
              <a:off x="1637888" y="3945297"/>
              <a:ext cx="1306800" cy="617760"/>
              <a:chOff x="2411760" y="3861048"/>
              <a:chExt cx="1980000" cy="936104"/>
            </a:xfrm>
          </p:grpSpPr>
          <p:sp>
            <p:nvSpPr>
              <p:cNvPr id="59" name="10 Rectángulo redondeado"/>
              <p:cNvSpPr/>
              <p:nvPr/>
            </p:nvSpPr>
            <p:spPr>
              <a:xfrm>
                <a:off x="2412561" y="3860920"/>
                <a:ext cx="1978924" cy="936486"/>
              </a:xfrm>
              <a:prstGeom prst="roundRect">
                <a:avLst/>
              </a:prstGeom>
              <a:solidFill>
                <a:srgbClr val="322ADA"/>
              </a:solidFill>
              <a:ln>
                <a:solidFill>
                  <a:srgbClr val="322AD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s-MX" sz="1600"/>
              </a:p>
            </p:txBody>
          </p:sp>
          <p:sp>
            <p:nvSpPr>
              <p:cNvPr id="60" name="Rectangle 4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2502748" y="4065560"/>
                <a:ext cx="1798549" cy="6538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350" eaLnBrk="1" hangingPunct="1">
                  <a:defRPr/>
                </a:pPr>
                <a:r>
                  <a:rPr lang="es-MX" sz="1400" b="1" kern="0" dirty="0" err="1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QoS</a:t>
                </a:r>
                <a:r>
                  <a:rPr lang="es-MX" sz="1400" b="1" kern="0" dirty="0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 percibida por el cliente</a:t>
                </a:r>
              </a:p>
            </p:txBody>
          </p:sp>
        </p:grpSp>
        <p:grpSp>
          <p:nvGrpSpPr>
            <p:cNvPr id="14346" name="17 Grupo"/>
            <p:cNvGrpSpPr>
              <a:grpSpLocks/>
            </p:cNvGrpSpPr>
            <p:nvPr/>
          </p:nvGrpSpPr>
          <p:grpSpPr bwMode="auto">
            <a:xfrm>
              <a:off x="3643583" y="3945297"/>
              <a:ext cx="1306800" cy="617760"/>
              <a:chOff x="5076056" y="3861048"/>
              <a:chExt cx="1980000" cy="936104"/>
            </a:xfrm>
          </p:grpSpPr>
          <p:sp>
            <p:nvSpPr>
              <p:cNvPr id="57" name="13 Rectángulo redondeado"/>
              <p:cNvSpPr/>
              <p:nvPr/>
            </p:nvSpPr>
            <p:spPr>
              <a:xfrm>
                <a:off x="5076554" y="3860920"/>
                <a:ext cx="1978924" cy="936486"/>
              </a:xfrm>
              <a:prstGeom prst="roundRect">
                <a:avLst/>
              </a:prstGeom>
              <a:solidFill>
                <a:srgbClr val="002060"/>
              </a:solidFill>
              <a:ln>
                <a:solidFill>
                  <a:srgbClr val="00206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s-MX" sz="1600"/>
              </a:p>
            </p:txBody>
          </p:sp>
          <p:sp>
            <p:nvSpPr>
              <p:cNvPr id="58" name="Rectangle 4"/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5123382" y="4065560"/>
                <a:ext cx="1888737" cy="6538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0" tIns="0" rIns="0" bIns="0">
                <a:spAutoFit/>
              </a:bodyPr>
              <a:lstStyle/>
              <a:p>
                <a:pPr algn="ctr" defTabSz="895350" eaLnBrk="1" hangingPunct="1">
                  <a:defRPr/>
                </a:pPr>
                <a:r>
                  <a:rPr lang="es-MX" sz="1400" b="1" kern="0" dirty="0" err="1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QoS</a:t>
                </a:r>
                <a:r>
                  <a:rPr lang="es-MX" sz="1400" b="1" kern="0" dirty="0">
                    <a:solidFill>
                      <a:schemeClr val="bg1"/>
                    </a:solidFill>
                    <a:ea typeface="+mj-ea"/>
                    <a:cs typeface="Arial" pitchFamily="34" charset="0"/>
                  </a:rPr>
                  <a:t> conseguida por el proveedor</a:t>
                </a:r>
              </a:p>
            </p:txBody>
          </p:sp>
        </p:grpSp>
        <p:sp>
          <p:nvSpPr>
            <p:cNvPr id="48" name="19 Flecha derecha"/>
            <p:cNvSpPr/>
            <p:nvPr/>
          </p:nvSpPr>
          <p:spPr>
            <a:xfrm flipH="1">
              <a:off x="3042950" y="4088271"/>
              <a:ext cx="521978" cy="331895"/>
            </a:xfrm>
            <a:prstGeom prst="rightArrow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 sz="1600"/>
            </a:p>
          </p:txBody>
        </p:sp>
        <p:sp>
          <p:nvSpPr>
            <p:cNvPr id="49" name="20 Flecha derecha"/>
            <p:cNvSpPr/>
            <p:nvPr/>
          </p:nvSpPr>
          <p:spPr>
            <a:xfrm rot="5400000" flipH="1">
              <a:off x="2044260" y="3451343"/>
              <a:ext cx="523021" cy="331960"/>
            </a:xfrm>
            <a:prstGeom prst="rightArrow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 sz="1600"/>
            </a:p>
          </p:txBody>
        </p:sp>
        <p:sp>
          <p:nvSpPr>
            <p:cNvPr id="50" name="21 Flecha derecha"/>
            <p:cNvSpPr/>
            <p:nvPr/>
          </p:nvSpPr>
          <p:spPr>
            <a:xfrm>
              <a:off x="3042950" y="2804180"/>
              <a:ext cx="521978" cy="333039"/>
            </a:xfrm>
            <a:prstGeom prst="rightArrow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 sz="1600"/>
            </a:p>
          </p:txBody>
        </p:sp>
        <p:sp>
          <p:nvSpPr>
            <p:cNvPr id="51" name="22 Flecha derecha"/>
            <p:cNvSpPr/>
            <p:nvPr/>
          </p:nvSpPr>
          <p:spPr>
            <a:xfrm rot="16200000" flipH="1">
              <a:off x="4035446" y="3450771"/>
              <a:ext cx="523021" cy="333105"/>
            </a:xfrm>
            <a:prstGeom prst="rightArrow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 sz="1600"/>
            </a:p>
          </p:txBody>
        </p:sp>
        <p:sp>
          <p:nvSpPr>
            <p:cNvPr id="52" name="Rectangle 4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96795" y="2108344"/>
              <a:ext cx="1188187" cy="2460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defTabSz="895350" eaLnBrk="1" hangingPunct="1">
                <a:defRPr/>
              </a:pPr>
              <a:r>
                <a:rPr lang="es-MX" sz="1600" b="1" kern="0" dirty="0">
                  <a:ea typeface="+mj-ea"/>
                  <a:cs typeface="Arial" pitchFamily="34" charset="0"/>
                </a:rPr>
                <a:t>Cliente</a:t>
              </a:r>
            </a:p>
          </p:txBody>
        </p:sp>
        <p:sp>
          <p:nvSpPr>
            <p:cNvPr id="53" name="Rectangle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703435" y="1996186"/>
              <a:ext cx="1187042" cy="4921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defTabSz="895350" eaLnBrk="1" hangingPunct="1">
                <a:defRPr/>
              </a:pPr>
              <a:r>
                <a:rPr lang="es-MX" sz="1600" b="1" kern="0" dirty="0">
                  <a:ea typeface="+mj-ea"/>
                  <a:cs typeface="Arial" pitchFamily="34" charset="0"/>
                </a:rPr>
                <a:t>Proveedor de servicio</a:t>
              </a:r>
            </a:p>
          </p:txBody>
        </p:sp>
        <p:sp>
          <p:nvSpPr>
            <p:cNvPr id="54" name="25 Rectángulo"/>
            <p:cNvSpPr/>
            <p:nvPr/>
          </p:nvSpPr>
          <p:spPr>
            <a:xfrm>
              <a:off x="1331640" y="1901195"/>
              <a:ext cx="3944598" cy="284400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 sz="1600"/>
            </a:p>
          </p:txBody>
        </p:sp>
        <p:cxnSp>
          <p:nvCxnSpPr>
            <p:cNvPr id="55" name="27 Conector recto"/>
            <p:cNvCxnSpPr/>
            <p:nvPr/>
          </p:nvCxnSpPr>
          <p:spPr>
            <a:xfrm>
              <a:off x="3299360" y="1901195"/>
              <a:ext cx="0" cy="284400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28 Conector recto"/>
            <p:cNvCxnSpPr/>
            <p:nvPr/>
          </p:nvCxnSpPr>
          <p:spPr>
            <a:xfrm rot="16200000">
              <a:off x="3303939" y="546908"/>
              <a:ext cx="0" cy="3944598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342" name="McK 4.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112713" y="6262688"/>
            <a:ext cx="8197851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s-MX" sz="1400" dirty="0">
                <a:latin typeface="Univers" pitchFamily="34" charset="0"/>
                <a:cs typeface="Arial" panose="020B0604020202020204" pitchFamily="34" charset="0"/>
              </a:rPr>
              <a:t>	      Fuente: Recomendación ITU-TE.800 (09/200)</a:t>
            </a:r>
          </a:p>
        </p:txBody>
      </p:sp>
      <p:sp>
        <p:nvSpPr>
          <p:cNvPr id="2" name="Rectángulo 1"/>
          <p:cNvSpPr/>
          <p:nvPr/>
        </p:nvSpPr>
        <p:spPr>
          <a:xfrm>
            <a:off x="6028450" y="2276872"/>
            <a:ext cx="2602384" cy="2917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10"/>
              </a:buBlip>
            </a:pPr>
            <a:r>
              <a:rPr lang="es-MX" sz="1800" kern="0" dirty="0">
                <a:solidFill>
                  <a:schemeClr val="bg2"/>
                </a:solidFill>
                <a:latin typeface="+mn-lt"/>
                <a:sym typeface="Symbol"/>
              </a:rPr>
              <a:t>Sólo la </a:t>
            </a:r>
            <a:r>
              <a:rPr lang="es-MX" sz="1800" kern="0" dirty="0" err="1">
                <a:solidFill>
                  <a:schemeClr val="bg2"/>
                </a:solidFill>
                <a:latin typeface="+mn-lt"/>
                <a:sym typeface="Symbol"/>
              </a:rPr>
              <a:t>QoS</a:t>
            </a:r>
            <a:r>
              <a:rPr lang="es-MX" sz="1800" kern="0" dirty="0">
                <a:solidFill>
                  <a:schemeClr val="bg2"/>
                </a:solidFill>
                <a:latin typeface="+mn-lt"/>
                <a:sym typeface="Symbol"/>
              </a:rPr>
              <a:t> </a:t>
            </a:r>
            <a:r>
              <a:rPr lang="es-MX" sz="1800" b="1" kern="0" dirty="0">
                <a:solidFill>
                  <a:schemeClr val="bg2"/>
                </a:solidFill>
                <a:latin typeface="+mn-lt"/>
                <a:sym typeface="Symbol"/>
              </a:rPr>
              <a:t>conseguida por el proveedor es objetiva y medible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10"/>
              </a:buBlip>
            </a:pPr>
            <a:r>
              <a:rPr lang="es-MX" sz="1800" kern="0" dirty="0">
                <a:solidFill>
                  <a:schemeClr val="bg2"/>
                </a:solidFill>
                <a:latin typeface="+mn-lt"/>
                <a:sym typeface="Symbol"/>
              </a:rPr>
              <a:t>Las otras tres dimensiones son </a:t>
            </a:r>
            <a:r>
              <a:rPr lang="es-MX" sz="1800" b="1" kern="0" dirty="0">
                <a:solidFill>
                  <a:schemeClr val="bg2"/>
                </a:solidFill>
                <a:latin typeface="+mn-lt"/>
                <a:sym typeface="Symbol"/>
              </a:rPr>
              <a:t>“declaraciones”</a:t>
            </a:r>
            <a:r>
              <a:rPr lang="es-MX" sz="1800" kern="0" dirty="0">
                <a:solidFill>
                  <a:schemeClr val="bg2"/>
                </a:solidFill>
                <a:latin typeface="+mn-lt"/>
                <a:sym typeface="Symbol"/>
              </a:rPr>
              <a:t> y por lo tanto, son </a:t>
            </a:r>
            <a:r>
              <a:rPr lang="es-MX" sz="1800" b="1" kern="0" dirty="0">
                <a:solidFill>
                  <a:schemeClr val="bg2"/>
                </a:solidFill>
                <a:latin typeface="+mn-lt"/>
                <a:sym typeface="Symbol"/>
              </a:rPr>
              <a:t>subjetiva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8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9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8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8435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8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9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8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DF655DFC-F8C3-414F-9AE6-F43C52934750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13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43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 </a:t>
            </a:r>
            <a:r>
              <a:rPr lang="en-US" dirty="0" err="1" smtClean="0"/>
              <a:t>regulación</a:t>
            </a:r>
            <a:r>
              <a:rPr lang="en-US" dirty="0" smtClean="0"/>
              <a:t> de la </a:t>
            </a:r>
            <a:r>
              <a:rPr lang="en-US" dirty="0" err="1" smtClean="0"/>
              <a:t>QoS</a:t>
            </a:r>
            <a:r>
              <a:rPr lang="en-US" dirty="0" smtClean="0"/>
              <a:t> </a:t>
            </a:r>
            <a:r>
              <a:rPr lang="en-US" dirty="0" err="1" smtClean="0"/>
              <a:t>origina</a:t>
            </a:r>
            <a:r>
              <a:rPr lang="en-US" dirty="0" smtClean="0"/>
              <a:t> del </a:t>
            </a:r>
            <a:r>
              <a:rPr lang="en-US" dirty="0" err="1" smtClean="0"/>
              <a:t>concepto</a:t>
            </a:r>
            <a:r>
              <a:rPr lang="en-US" dirty="0" smtClean="0"/>
              <a:t> de “</a:t>
            </a:r>
            <a:r>
              <a:rPr lang="en-US" dirty="0" err="1" smtClean="0"/>
              <a:t>monopolio</a:t>
            </a:r>
            <a:r>
              <a:rPr lang="en-US" dirty="0" smtClean="0"/>
              <a:t> natural”</a:t>
            </a:r>
          </a:p>
        </p:txBody>
      </p:sp>
      <p:cxnSp>
        <p:nvCxnSpPr>
          <p:cNvPr id="8" name="59 Conector angular"/>
          <p:cNvCxnSpPr/>
          <p:nvPr/>
        </p:nvCxnSpPr>
        <p:spPr>
          <a:xfrm rot="5400000">
            <a:off x="4137118" y="5443697"/>
            <a:ext cx="571636" cy="0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61 Conector angular"/>
          <p:cNvCxnSpPr>
            <a:stCxn id="32" idx="2"/>
            <a:endCxn id="23" idx="0"/>
          </p:cNvCxnSpPr>
          <p:nvPr/>
        </p:nvCxnSpPr>
        <p:spPr>
          <a:xfrm rot="16200000" flipH="1">
            <a:off x="5443867" y="4188464"/>
            <a:ext cx="455329" cy="2445673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64 Conector angular"/>
          <p:cNvCxnSpPr/>
          <p:nvPr/>
        </p:nvCxnSpPr>
        <p:spPr>
          <a:xfrm rot="5400000">
            <a:off x="2951754" y="4177310"/>
            <a:ext cx="454232" cy="2484276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41 Grupo"/>
          <p:cNvGrpSpPr/>
          <p:nvPr/>
        </p:nvGrpSpPr>
        <p:grpSpPr>
          <a:xfrm>
            <a:off x="2594598" y="1391592"/>
            <a:ext cx="3708192" cy="432048"/>
            <a:chOff x="1259632" y="1214754"/>
            <a:chExt cx="3708192" cy="432048"/>
          </a:xfrm>
        </p:grpSpPr>
        <p:sp>
          <p:nvSpPr>
            <p:cNvPr id="12" name="26 Rectángulo redondeado"/>
            <p:cNvSpPr/>
            <p:nvPr/>
          </p:nvSpPr>
          <p:spPr>
            <a:xfrm>
              <a:off x="1259632" y="1214754"/>
              <a:ext cx="3708192" cy="432048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/>
            </a:p>
          </p:txBody>
        </p:sp>
        <p:sp>
          <p:nvSpPr>
            <p:cNvPr id="13" name="Rectangle 4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700676" y="1276890"/>
              <a:ext cx="2826104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1600" b="1" kern="0" dirty="0" smtClean="0">
                  <a:solidFill>
                    <a:schemeClr val="bg1"/>
                  </a:solidFill>
                  <a:latin typeface="+mj-lt"/>
                  <a:ea typeface="+mj-ea"/>
                  <a:cs typeface="Arial" pitchFamily="34" charset="0"/>
                </a:rPr>
                <a:t>Monopolio natural</a:t>
              </a:r>
              <a:endParaRPr kumimoji="0" lang="es-MX" sz="16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</p:grpSp>
      <p:sp>
        <p:nvSpPr>
          <p:cNvPr id="14" name="Text Box 27"/>
          <p:cNvSpPr txBox="1">
            <a:spLocks noChangeArrowheads="1"/>
          </p:cNvSpPr>
          <p:nvPr/>
        </p:nvSpPr>
        <p:spPr bwMode="gray">
          <a:xfrm>
            <a:off x="539552" y="1871280"/>
            <a:ext cx="7818284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lvl="1" indent="1588" algn="ctr" eaLnBrk="0" hangingPunct="0">
              <a:spcBef>
                <a:spcPct val="20000"/>
              </a:spcBef>
              <a:buClr>
                <a:schemeClr val="tx1"/>
              </a:buClr>
              <a:buSzPct val="80000"/>
            </a:pPr>
            <a:r>
              <a:rPr lang="es-MX" altLang="zh-CN" sz="1800" dirty="0" smtClean="0">
                <a:ea typeface="SimSun" pitchFamily="2" charset="-122"/>
                <a:sym typeface="Symbol"/>
              </a:rPr>
              <a:t>Es más eficiente, desde el punto de vista de costos promedio de largo plazo, que la “producción” esté concentrada en una sola firma</a:t>
            </a:r>
            <a:endParaRPr lang="es-ES" altLang="zh-CN" sz="1800" b="1" dirty="0" smtClean="0">
              <a:ea typeface="SimSun" pitchFamily="2" charset="-122"/>
            </a:endParaRPr>
          </a:p>
        </p:txBody>
      </p:sp>
      <p:sp>
        <p:nvSpPr>
          <p:cNvPr id="15" name="Text Box 27"/>
          <p:cNvSpPr txBox="1">
            <a:spLocks noChangeArrowheads="1"/>
          </p:cNvSpPr>
          <p:nvPr/>
        </p:nvSpPr>
        <p:spPr bwMode="gray">
          <a:xfrm>
            <a:off x="2108434" y="2649791"/>
            <a:ext cx="4680520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lvl="1" indent="1588" algn="ctr" eaLnBrk="0" hangingPunct="0">
              <a:spcBef>
                <a:spcPct val="20000"/>
              </a:spcBef>
              <a:buClr>
                <a:schemeClr val="tx1"/>
              </a:buClr>
              <a:buSzPct val="80000"/>
            </a:pPr>
            <a:r>
              <a:rPr lang="es-MX" altLang="zh-CN" sz="1800" dirty="0" smtClean="0">
                <a:ea typeface="SimSun" pitchFamily="2" charset="-122"/>
                <a:sym typeface="Symbol"/>
              </a:rPr>
              <a:t>Una firma con un monopolio natural tiene un comportamiento monopólico</a:t>
            </a:r>
            <a:endParaRPr lang="es-ES" altLang="zh-CN" sz="1800" b="1" dirty="0" smtClean="0">
              <a:ea typeface="SimSun" pitchFamily="2" charset="-122"/>
            </a:endParaRPr>
          </a:p>
        </p:txBody>
      </p:sp>
      <p:sp>
        <p:nvSpPr>
          <p:cNvPr id="16" name="Text Box 27"/>
          <p:cNvSpPr txBox="1">
            <a:spLocks noChangeArrowheads="1"/>
          </p:cNvSpPr>
          <p:nvPr/>
        </p:nvSpPr>
        <p:spPr bwMode="gray">
          <a:xfrm>
            <a:off x="1604378" y="3471482"/>
            <a:ext cx="5688632" cy="8309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lvl="1" indent="1588" algn="ctr" eaLnBrk="0" hangingPunct="0">
              <a:spcBef>
                <a:spcPct val="20000"/>
              </a:spcBef>
              <a:buClr>
                <a:schemeClr val="tx1"/>
              </a:buClr>
              <a:buSzPct val="80000"/>
            </a:pPr>
            <a:r>
              <a:rPr lang="es-MX" altLang="zh-CN" sz="1800" dirty="0" smtClean="0">
                <a:ea typeface="SimSun" pitchFamily="2" charset="-122"/>
                <a:sym typeface="Symbol"/>
              </a:rPr>
              <a:t>Es necesario regular estrictamente a la firma, especialmente cuando el servicio es considerado “público” o “esencial”</a:t>
            </a:r>
            <a:endParaRPr lang="es-ES" altLang="zh-CN" sz="1800" b="1" dirty="0" smtClean="0">
              <a:ea typeface="SimSun" pitchFamily="2" charset="-122"/>
            </a:endParaRPr>
          </a:p>
        </p:txBody>
      </p:sp>
      <p:grpSp>
        <p:nvGrpSpPr>
          <p:cNvPr id="19" name="54 Grupo"/>
          <p:cNvGrpSpPr/>
          <p:nvPr/>
        </p:nvGrpSpPr>
        <p:grpSpPr>
          <a:xfrm>
            <a:off x="935816" y="5638966"/>
            <a:ext cx="6948552" cy="648000"/>
            <a:chOff x="827584" y="5373288"/>
            <a:chExt cx="6948552" cy="648000"/>
          </a:xfrm>
        </p:grpSpPr>
        <p:grpSp>
          <p:nvGrpSpPr>
            <p:cNvPr id="20" name="42 Grupo"/>
            <p:cNvGrpSpPr/>
            <p:nvPr/>
          </p:nvGrpSpPr>
          <p:grpSpPr>
            <a:xfrm>
              <a:off x="827584" y="5373288"/>
              <a:ext cx="1980000" cy="648000"/>
              <a:chOff x="611560" y="5134657"/>
              <a:chExt cx="1980000" cy="648000"/>
            </a:xfrm>
          </p:grpSpPr>
          <p:sp>
            <p:nvSpPr>
              <p:cNvPr id="27" name="34 Rectángulo redondeado"/>
              <p:cNvSpPr/>
              <p:nvPr/>
            </p:nvSpPr>
            <p:spPr>
              <a:xfrm>
                <a:off x="611560" y="5134657"/>
                <a:ext cx="1980000" cy="648000"/>
              </a:xfrm>
              <a:prstGeom prst="roundRect">
                <a:avLst/>
              </a:prstGeom>
              <a:solidFill>
                <a:srgbClr val="FA12CE"/>
              </a:solidFill>
              <a:ln>
                <a:solidFill>
                  <a:srgbClr val="FA12C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sz="1600"/>
              </a:p>
            </p:txBody>
          </p:sp>
          <p:sp>
            <p:nvSpPr>
              <p:cNvPr id="28" name="Rectangle 4"/>
              <p:cNvSpPr txBox="1"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701560" y="5310854"/>
                <a:ext cx="1800000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89535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s-MX" sz="1600" b="1" kern="0" dirty="0" smtClean="0">
                    <a:solidFill>
                      <a:schemeClr val="bg1"/>
                    </a:solidFill>
                    <a:latin typeface="+mj-lt"/>
                    <a:ea typeface="+mj-ea"/>
                    <a:cs typeface="Arial" pitchFamily="34" charset="0"/>
                  </a:rPr>
                  <a:t>Precio</a:t>
                </a:r>
                <a:endParaRPr kumimoji="0" lang="es-MX" sz="1600" b="1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j-ea"/>
                  <a:cs typeface="Arial" pitchFamily="34" charset="0"/>
                </a:endParaRPr>
              </a:p>
            </p:txBody>
          </p:sp>
        </p:grpSp>
        <p:grpSp>
          <p:nvGrpSpPr>
            <p:cNvPr id="21" name="43 Grupo"/>
            <p:cNvGrpSpPr/>
            <p:nvPr/>
          </p:nvGrpSpPr>
          <p:grpSpPr>
            <a:xfrm>
              <a:off x="3349593" y="5373288"/>
              <a:ext cx="1980000" cy="648000"/>
              <a:chOff x="3026461" y="5270579"/>
              <a:chExt cx="1980000" cy="648000"/>
            </a:xfrm>
          </p:grpSpPr>
          <p:sp>
            <p:nvSpPr>
              <p:cNvPr id="25" name="36 Rectángulo redondeado"/>
              <p:cNvSpPr/>
              <p:nvPr/>
            </p:nvSpPr>
            <p:spPr>
              <a:xfrm>
                <a:off x="3026461" y="5270579"/>
                <a:ext cx="1980000" cy="648000"/>
              </a:xfrm>
              <a:prstGeom prst="roundRect">
                <a:avLst/>
              </a:prstGeom>
              <a:solidFill>
                <a:srgbClr val="FA12CE"/>
              </a:solidFill>
              <a:ln>
                <a:solidFill>
                  <a:srgbClr val="FA12C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sz="1600"/>
              </a:p>
            </p:txBody>
          </p:sp>
          <p:sp>
            <p:nvSpPr>
              <p:cNvPr id="26" name="Rectangle 4"/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3077824" y="5446776"/>
                <a:ext cx="1800000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89535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s-MX" sz="1600" b="1" kern="0" dirty="0" smtClean="0">
                    <a:solidFill>
                      <a:schemeClr val="bg1"/>
                    </a:solidFill>
                    <a:latin typeface="+mj-lt"/>
                    <a:ea typeface="+mj-ea"/>
                    <a:cs typeface="Arial" pitchFamily="34" charset="0"/>
                  </a:rPr>
                  <a:t>Calidad</a:t>
                </a:r>
                <a:endParaRPr kumimoji="0" lang="es-MX" sz="1600" b="1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j-ea"/>
                  <a:cs typeface="Arial" pitchFamily="34" charset="0"/>
                </a:endParaRPr>
              </a:p>
            </p:txBody>
          </p:sp>
        </p:grpSp>
        <p:grpSp>
          <p:nvGrpSpPr>
            <p:cNvPr id="22" name="51 Grupo"/>
            <p:cNvGrpSpPr/>
            <p:nvPr/>
          </p:nvGrpSpPr>
          <p:grpSpPr>
            <a:xfrm>
              <a:off x="5796136" y="5373288"/>
              <a:ext cx="1980000" cy="648000"/>
              <a:chOff x="5292080" y="5278673"/>
              <a:chExt cx="1980000" cy="648000"/>
            </a:xfrm>
          </p:grpSpPr>
          <p:sp>
            <p:nvSpPr>
              <p:cNvPr id="23" name="38 Rectángulo redondeado"/>
              <p:cNvSpPr/>
              <p:nvPr/>
            </p:nvSpPr>
            <p:spPr>
              <a:xfrm>
                <a:off x="5292080" y="5278673"/>
                <a:ext cx="1980000" cy="648000"/>
              </a:xfrm>
              <a:prstGeom prst="roundRect">
                <a:avLst/>
              </a:prstGeom>
              <a:solidFill>
                <a:srgbClr val="FA12CE"/>
              </a:solidFill>
              <a:ln>
                <a:solidFill>
                  <a:srgbClr val="FA12C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sz="1600"/>
              </a:p>
            </p:txBody>
          </p:sp>
          <p:sp>
            <p:nvSpPr>
              <p:cNvPr id="24" name="Rectangle 4"/>
              <p:cNvSpPr txBox="1"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5382080" y="5369222"/>
                <a:ext cx="1800000" cy="49244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89535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s-MX" sz="1600" b="1" kern="0" dirty="0" smtClean="0">
                    <a:solidFill>
                      <a:schemeClr val="bg1"/>
                    </a:solidFill>
                    <a:latin typeface="+mj-lt"/>
                    <a:ea typeface="+mj-ea"/>
                    <a:cs typeface="Arial" pitchFamily="34" charset="0"/>
                  </a:rPr>
                  <a:t>Entrada al mercado</a:t>
                </a:r>
                <a:endParaRPr kumimoji="0" lang="es-MX" sz="1600" b="1" i="0" u="none" strike="noStrike" kern="0" cap="none" spc="0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j-ea"/>
                  <a:cs typeface="Arial" pitchFamily="34" charset="0"/>
                </a:endParaRPr>
              </a:p>
            </p:txBody>
          </p:sp>
        </p:grpSp>
      </p:grpSp>
      <p:sp>
        <p:nvSpPr>
          <p:cNvPr id="29" name="45 Triángulo isósceles"/>
          <p:cNvSpPr/>
          <p:nvPr/>
        </p:nvSpPr>
        <p:spPr>
          <a:xfrm rot="10800000">
            <a:off x="3224558" y="2468303"/>
            <a:ext cx="2448272" cy="223200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sp>
        <p:nvSpPr>
          <p:cNvPr id="30" name="46 Triángulo isósceles"/>
          <p:cNvSpPr/>
          <p:nvPr/>
        </p:nvSpPr>
        <p:spPr>
          <a:xfrm rot="10800000">
            <a:off x="3224558" y="3256716"/>
            <a:ext cx="2448272" cy="223200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grpSp>
        <p:nvGrpSpPr>
          <p:cNvPr id="31" name="50 Grupo"/>
          <p:cNvGrpSpPr/>
          <p:nvPr/>
        </p:nvGrpSpPr>
        <p:grpSpPr>
          <a:xfrm>
            <a:off x="2032130" y="4643637"/>
            <a:ext cx="4833129" cy="540000"/>
            <a:chOff x="-2249843" y="1650381"/>
            <a:chExt cx="4423768" cy="540000"/>
          </a:xfrm>
        </p:grpSpPr>
        <p:sp>
          <p:nvSpPr>
            <p:cNvPr id="32" name="48 Rectángulo redondeado"/>
            <p:cNvSpPr/>
            <p:nvPr/>
          </p:nvSpPr>
          <p:spPr>
            <a:xfrm>
              <a:off x="-2249843" y="1650381"/>
              <a:ext cx="4423768" cy="540000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/>
            </a:p>
          </p:txBody>
        </p:sp>
        <p:sp>
          <p:nvSpPr>
            <p:cNvPr id="33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-2113745" y="1674160"/>
              <a:ext cx="4151571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1600" b="1" kern="0" dirty="0" smtClean="0">
                  <a:solidFill>
                    <a:schemeClr val="bg1"/>
                  </a:solidFill>
                  <a:latin typeface="+mj-lt"/>
                  <a:ea typeface="+mj-ea"/>
                  <a:cs typeface="Arial" pitchFamily="34" charset="0"/>
                </a:rPr>
                <a:t>Dimensiones más importantes de la regulación de los monopolios naturales</a:t>
              </a:r>
              <a:endParaRPr kumimoji="0" lang="es-MX" sz="16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</p:grpSp>
      <p:sp>
        <p:nvSpPr>
          <p:cNvPr id="34" name="55 Triángulo isósceles"/>
          <p:cNvSpPr/>
          <p:nvPr/>
        </p:nvSpPr>
        <p:spPr>
          <a:xfrm rot="10800000">
            <a:off x="3224559" y="4328839"/>
            <a:ext cx="2448272" cy="223200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</p:spTree>
    <p:extLst>
      <p:ext uri="{BB962C8B-B14F-4D97-AF65-F5344CB8AC3E}">
        <p14:creationId xmlns:p14="http://schemas.microsoft.com/office/powerpoint/2010/main" val="3849927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8435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DF655DFC-F8C3-414F-9AE6-F43C52934750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1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43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ero</a:t>
            </a:r>
            <a:r>
              <a:rPr lang="en-US" dirty="0" smtClean="0"/>
              <a:t> en </a:t>
            </a:r>
            <a:r>
              <a:rPr lang="en-US" dirty="0" err="1" smtClean="0"/>
              <a:t>telecomunicaciones</a:t>
            </a:r>
            <a:r>
              <a:rPr lang="en-US" dirty="0" smtClean="0"/>
              <a:t> el “</a:t>
            </a:r>
            <a:r>
              <a:rPr lang="en-US" dirty="0" err="1" smtClean="0"/>
              <a:t>monopolio</a:t>
            </a:r>
            <a:r>
              <a:rPr lang="en-US" dirty="0" smtClean="0"/>
              <a:t> natural” </a:t>
            </a:r>
            <a:r>
              <a:rPr lang="en-US" dirty="0" err="1" smtClean="0"/>
              <a:t>está</a:t>
            </a:r>
            <a:r>
              <a:rPr lang="en-US" dirty="0" smtClean="0"/>
              <a:t> </a:t>
            </a:r>
            <a:r>
              <a:rPr lang="en-US" dirty="0" err="1" smtClean="0"/>
              <a:t>superado</a:t>
            </a:r>
            <a:endParaRPr lang="en-US" dirty="0" smtClean="0"/>
          </a:p>
        </p:txBody>
      </p:sp>
      <p:grpSp>
        <p:nvGrpSpPr>
          <p:cNvPr id="38" name="58 Grupo"/>
          <p:cNvGrpSpPr/>
          <p:nvPr/>
        </p:nvGrpSpPr>
        <p:grpSpPr>
          <a:xfrm>
            <a:off x="1557884" y="2437827"/>
            <a:ext cx="6120000" cy="1080000"/>
            <a:chOff x="1332288" y="2096951"/>
            <a:chExt cx="5832000" cy="1080000"/>
          </a:xfrm>
        </p:grpSpPr>
        <p:sp>
          <p:nvSpPr>
            <p:cNvPr id="39" name="44 Pentágono"/>
            <p:cNvSpPr/>
            <p:nvPr/>
          </p:nvSpPr>
          <p:spPr>
            <a:xfrm rot="5400000">
              <a:off x="3708288" y="-279049"/>
              <a:ext cx="1080000" cy="5832000"/>
            </a:xfrm>
            <a:prstGeom prst="homePlate">
              <a:avLst>
                <a:gd name="adj" fmla="val 2051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800"/>
            </a:p>
          </p:txBody>
        </p:sp>
        <p:sp>
          <p:nvSpPr>
            <p:cNvPr id="40" name="Text Box 27"/>
            <p:cNvSpPr txBox="1">
              <a:spLocks noChangeArrowheads="1"/>
            </p:cNvSpPr>
            <p:nvPr/>
          </p:nvSpPr>
          <p:spPr bwMode="gray">
            <a:xfrm>
              <a:off x="1615242" y="2195695"/>
              <a:ext cx="5266092" cy="8309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lvl="1" indent="1588" algn="ctr" eaLnBrk="0" hangingPunct="0">
                <a:spcBef>
                  <a:spcPct val="20000"/>
                </a:spcBef>
                <a:buClr>
                  <a:schemeClr val="tx1"/>
                </a:buClr>
                <a:buSzPct val="80000"/>
              </a:pPr>
              <a:r>
                <a:rPr lang="es-MX" altLang="zh-CN" sz="1800" dirty="0" smtClean="0">
                  <a:ea typeface="SimSun" pitchFamily="2" charset="-122"/>
                  <a:sym typeface="Symbol"/>
                </a:rPr>
                <a:t>Basta contar con una regulación adecuada de interconexión para eliminar las características de “monopolio natural”</a:t>
              </a:r>
              <a:endParaRPr lang="es-ES" altLang="zh-CN" sz="1800" b="1" dirty="0" smtClean="0">
                <a:ea typeface="SimSun" pitchFamily="2" charset="-122"/>
              </a:endParaRPr>
            </a:p>
          </p:txBody>
        </p:sp>
      </p:grpSp>
      <p:grpSp>
        <p:nvGrpSpPr>
          <p:cNvPr id="41" name="62 Grupo"/>
          <p:cNvGrpSpPr/>
          <p:nvPr/>
        </p:nvGrpSpPr>
        <p:grpSpPr>
          <a:xfrm>
            <a:off x="621440" y="4774220"/>
            <a:ext cx="7992888" cy="1437552"/>
            <a:chOff x="1259632" y="4879322"/>
            <a:chExt cx="6660000" cy="1437552"/>
          </a:xfrm>
        </p:grpSpPr>
        <p:sp>
          <p:nvSpPr>
            <p:cNvPr id="42" name="54 Rectángulo redondeado"/>
            <p:cNvSpPr/>
            <p:nvPr/>
          </p:nvSpPr>
          <p:spPr>
            <a:xfrm>
              <a:off x="1259632" y="4879322"/>
              <a:ext cx="6660000" cy="1437552"/>
            </a:xfrm>
            <a:prstGeom prst="roundRect">
              <a:avLst/>
            </a:prstGeom>
            <a:solidFill>
              <a:srgbClr val="FA12CE"/>
            </a:solidFill>
            <a:ln>
              <a:solidFill>
                <a:srgbClr val="FA12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2200"/>
            </a:p>
          </p:txBody>
        </p:sp>
        <p:sp>
          <p:nvSpPr>
            <p:cNvPr id="43" name="Text Box 27"/>
            <p:cNvSpPr txBox="1">
              <a:spLocks noChangeArrowheads="1"/>
            </p:cNvSpPr>
            <p:nvPr/>
          </p:nvSpPr>
          <p:spPr bwMode="gray">
            <a:xfrm>
              <a:off x="1454907" y="4924020"/>
              <a:ext cx="6269450" cy="135421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lvl="1" indent="1588" algn="ctr" eaLnBrk="0" hangingPunct="0">
                <a:spcBef>
                  <a:spcPct val="20000"/>
                </a:spcBef>
                <a:buClr>
                  <a:schemeClr val="tx1"/>
                </a:buClr>
                <a:buSzPct val="80000"/>
              </a:pPr>
              <a:r>
                <a:rPr lang="es-MX" altLang="zh-CN" sz="2200" b="1" dirty="0" smtClean="0">
                  <a:ea typeface="SimSun" pitchFamily="2" charset="-122"/>
                  <a:sym typeface="Symbol"/>
                </a:rPr>
                <a:t>En general, las presiones competitivas se consideran suficientes para mantener los precios y la calidad de los servicios a niveles razonables sin controles regulatorios</a:t>
              </a:r>
              <a:endParaRPr lang="es-ES" altLang="zh-CN" sz="2200" b="1" dirty="0" smtClean="0">
                <a:ea typeface="SimSun" pitchFamily="2" charset="-122"/>
              </a:endParaRPr>
            </a:p>
          </p:txBody>
        </p:sp>
      </p:grpSp>
      <p:grpSp>
        <p:nvGrpSpPr>
          <p:cNvPr id="44" name="60 Grupo"/>
          <p:cNvGrpSpPr/>
          <p:nvPr/>
        </p:nvGrpSpPr>
        <p:grpSpPr>
          <a:xfrm>
            <a:off x="1521884" y="3697868"/>
            <a:ext cx="6192000" cy="792088"/>
            <a:chOff x="1835696" y="3717032"/>
            <a:chExt cx="6192000" cy="792088"/>
          </a:xfrm>
        </p:grpSpPr>
        <p:sp>
          <p:nvSpPr>
            <p:cNvPr id="45" name="51 Rectángulo redondeado"/>
            <p:cNvSpPr/>
            <p:nvPr/>
          </p:nvSpPr>
          <p:spPr>
            <a:xfrm>
              <a:off x="1835696" y="3717032"/>
              <a:ext cx="6192000" cy="792088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800"/>
            </a:p>
          </p:txBody>
        </p:sp>
        <p:sp>
          <p:nvSpPr>
            <p:cNvPr id="46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467671" y="3818948"/>
              <a:ext cx="4928050" cy="5539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1800" b="1" kern="0" dirty="0" smtClean="0">
                  <a:solidFill>
                    <a:schemeClr val="bg1"/>
                  </a:solidFill>
                  <a:latin typeface="+mj-lt"/>
                  <a:ea typeface="+mj-ea"/>
                  <a:cs typeface="Arial" pitchFamily="34" charset="0"/>
                </a:rPr>
                <a:t>¿Es realmente necesario contar con una regulación de calidad y precio?</a:t>
              </a:r>
              <a:endParaRPr kumimoji="0" lang="es-MX" sz="18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</p:grpSp>
      <p:grpSp>
        <p:nvGrpSpPr>
          <p:cNvPr id="35" name="57 Grupo"/>
          <p:cNvGrpSpPr/>
          <p:nvPr/>
        </p:nvGrpSpPr>
        <p:grpSpPr>
          <a:xfrm>
            <a:off x="1647884" y="1573731"/>
            <a:ext cx="5940000" cy="900273"/>
            <a:chOff x="1754180" y="1232855"/>
            <a:chExt cx="5266092" cy="900273"/>
          </a:xfrm>
        </p:grpSpPr>
        <p:sp>
          <p:nvSpPr>
            <p:cNvPr id="36" name="43 Pentágono"/>
            <p:cNvSpPr/>
            <p:nvPr/>
          </p:nvSpPr>
          <p:spPr>
            <a:xfrm rot="5400000">
              <a:off x="3937226" y="-873145"/>
              <a:ext cx="900000" cy="5112000"/>
            </a:xfrm>
            <a:prstGeom prst="homePlate">
              <a:avLst>
                <a:gd name="adj" fmla="val 20518"/>
              </a:avLst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800"/>
            </a:p>
          </p:txBody>
        </p:sp>
        <p:sp>
          <p:nvSpPr>
            <p:cNvPr id="37" name="Text Box 27"/>
            <p:cNvSpPr txBox="1">
              <a:spLocks noChangeArrowheads="1"/>
            </p:cNvSpPr>
            <p:nvPr/>
          </p:nvSpPr>
          <p:spPr bwMode="gray">
            <a:xfrm>
              <a:off x="1754180" y="1302131"/>
              <a:ext cx="5266092" cy="8309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lvl="1" indent="1588" algn="ctr" eaLnBrk="0" hangingPunct="0">
                <a:spcBef>
                  <a:spcPct val="20000"/>
                </a:spcBef>
                <a:buClr>
                  <a:schemeClr val="tx1"/>
                </a:buClr>
                <a:buSzPct val="80000"/>
              </a:pPr>
              <a:r>
                <a:rPr lang="es-MX" altLang="zh-CN" sz="1800" dirty="0" smtClean="0">
                  <a:ea typeface="SimSun" pitchFamily="2" charset="-122"/>
                  <a:sym typeface="Symbol"/>
                </a:rPr>
                <a:t>La historia (y la teoría) han demostrado que las telecomunicaciones NO son un monopolio natural</a:t>
              </a:r>
              <a:endParaRPr lang="es-ES" altLang="zh-CN" sz="1800" b="1" dirty="0" smtClean="0">
                <a:ea typeface="SimSun" pitchFamily="2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3889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6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7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6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8195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6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7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6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2981912-8426-4A4A-84B4-91F3067A8E43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1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819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La calidad de servicio (QoS) involucra tres dimensiones…</a:t>
            </a:r>
          </a:p>
        </p:txBody>
      </p:sp>
      <p:sp>
        <p:nvSpPr>
          <p:cNvPr id="8197" name="Text Box 27"/>
          <p:cNvSpPr txBox="1">
            <a:spLocks noChangeArrowheads="1"/>
          </p:cNvSpPr>
          <p:nvPr/>
        </p:nvSpPr>
        <p:spPr bwMode="gray">
          <a:xfrm>
            <a:off x="2987675" y="3768725"/>
            <a:ext cx="28797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indent="1588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lvl="1" algn="ctr">
              <a:spcBef>
                <a:spcPct val="20000"/>
              </a:spcBef>
              <a:buClr>
                <a:schemeClr val="tx1"/>
              </a:buClr>
              <a:buSzPct val="80000"/>
            </a:pPr>
            <a:r>
              <a:rPr lang="es-MX" altLang="zh-CN" sz="2000" b="1">
                <a:ea typeface="SimSun" panose="02010600030101010101" pitchFamily="2" charset="-122"/>
                <a:sym typeface="Symbol" panose="05050102010706020507" pitchFamily="18" charset="2"/>
              </a:rPr>
              <a:t>Las características de la red</a:t>
            </a:r>
            <a:endParaRPr lang="es-ES" altLang="zh-CN" sz="2000" b="1">
              <a:ea typeface="SimSun" panose="02010600030101010101" pitchFamily="2" charset="-122"/>
            </a:endParaRPr>
          </a:p>
        </p:txBody>
      </p:sp>
      <p:sp>
        <p:nvSpPr>
          <p:cNvPr id="8198" name="Text Box 27"/>
          <p:cNvSpPr txBox="1">
            <a:spLocks noChangeArrowheads="1"/>
          </p:cNvSpPr>
          <p:nvPr/>
        </p:nvSpPr>
        <p:spPr bwMode="gray">
          <a:xfrm>
            <a:off x="2525713" y="5189538"/>
            <a:ext cx="41402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indent="1588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lvl="1" algn="ctr">
              <a:spcBef>
                <a:spcPct val="20000"/>
              </a:spcBef>
              <a:buClr>
                <a:schemeClr val="tx1"/>
              </a:buClr>
              <a:buSzPct val="80000"/>
            </a:pPr>
            <a:r>
              <a:rPr lang="es-MX" altLang="zh-CN" sz="2000" b="1">
                <a:ea typeface="SimSun" panose="02010600030101010101" pitchFamily="2" charset="-122"/>
                <a:sym typeface="Symbol" panose="05050102010706020507" pitchFamily="18" charset="2"/>
              </a:rPr>
              <a:t>Lograr un nivel satisfactorio de calidad de servicio</a:t>
            </a:r>
            <a:endParaRPr lang="es-ES" altLang="zh-CN" sz="2000" b="1">
              <a:ea typeface="SimSun" panose="02010600030101010101" pitchFamily="2" charset="-122"/>
            </a:endParaRPr>
          </a:p>
        </p:txBody>
      </p:sp>
      <p:grpSp>
        <p:nvGrpSpPr>
          <p:cNvPr id="8199" name="19 Grupo"/>
          <p:cNvGrpSpPr>
            <a:grpSpLocks/>
          </p:cNvGrpSpPr>
          <p:nvPr/>
        </p:nvGrpSpPr>
        <p:grpSpPr bwMode="auto">
          <a:xfrm>
            <a:off x="1289050" y="2894013"/>
            <a:ext cx="1511300" cy="431800"/>
            <a:chOff x="1259632" y="1214754"/>
            <a:chExt cx="3708192" cy="432048"/>
          </a:xfrm>
        </p:grpSpPr>
        <p:sp>
          <p:nvSpPr>
            <p:cNvPr id="10" name="20 Rectángulo redondeado"/>
            <p:cNvSpPr/>
            <p:nvPr/>
          </p:nvSpPr>
          <p:spPr>
            <a:xfrm>
              <a:off x="1259632" y="1214754"/>
              <a:ext cx="3708192" cy="432048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/>
            </a:p>
          </p:txBody>
        </p:sp>
        <p:sp>
          <p:nvSpPr>
            <p:cNvPr id="11" name="Rectangle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699786" y="1276702"/>
              <a:ext cx="2827886" cy="308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defTabSz="895350" eaLnBrk="1" hangingPunct="1">
                <a:defRPr/>
              </a:pPr>
              <a:r>
                <a:rPr lang="es-MX" sz="2000" b="1" kern="0" dirty="0">
                  <a:solidFill>
                    <a:schemeClr val="bg1"/>
                  </a:solidFill>
                  <a:latin typeface="+mj-lt"/>
                  <a:ea typeface="+mj-ea"/>
                  <a:cs typeface="Arial" pitchFamily="34" charset="0"/>
                </a:rPr>
                <a:t>Definir</a:t>
              </a:r>
            </a:p>
          </p:txBody>
        </p:sp>
      </p:grpSp>
      <p:grpSp>
        <p:nvGrpSpPr>
          <p:cNvPr id="8200" name="22 Grupo"/>
          <p:cNvGrpSpPr>
            <a:grpSpLocks/>
          </p:cNvGrpSpPr>
          <p:nvPr/>
        </p:nvGrpSpPr>
        <p:grpSpPr bwMode="auto">
          <a:xfrm>
            <a:off x="3816350" y="2894013"/>
            <a:ext cx="1511300" cy="431800"/>
            <a:chOff x="1259632" y="1214754"/>
            <a:chExt cx="3708192" cy="432048"/>
          </a:xfrm>
        </p:grpSpPr>
        <p:sp>
          <p:nvSpPr>
            <p:cNvPr id="13" name="23 Rectángulo redondeado"/>
            <p:cNvSpPr/>
            <p:nvPr/>
          </p:nvSpPr>
          <p:spPr>
            <a:xfrm>
              <a:off x="1259632" y="1214754"/>
              <a:ext cx="3708192" cy="432048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/>
            </a:p>
          </p:txBody>
        </p:sp>
        <p:sp>
          <p:nvSpPr>
            <p:cNvPr id="14" name="Rectangle 4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99786" y="1276702"/>
              <a:ext cx="2827886" cy="3081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defTabSz="895350" eaLnBrk="1" hangingPunct="1">
                <a:defRPr/>
              </a:pPr>
              <a:r>
                <a:rPr lang="es-MX" sz="2000" b="1" kern="0" dirty="0">
                  <a:solidFill>
                    <a:schemeClr val="bg1"/>
                  </a:solidFill>
                  <a:latin typeface="+mj-lt"/>
                  <a:ea typeface="+mj-ea"/>
                  <a:cs typeface="Arial" pitchFamily="34" charset="0"/>
                </a:rPr>
                <a:t>Medir</a:t>
              </a:r>
            </a:p>
          </p:txBody>
        </p:sp>
      </p:grpSp>
      <p:grpSp>
        <p:nvGrpSpPr>
          <p:cNvPr id="8201" name="25 Grupo"/>
          <p:cNvGrpSpPr>
            <a:grpSpLocks/>
          </p:cNvGrpSpPr>
          <p:nvPr/>
        </p:nvGrpSpPr>
        <p:grpSpPr bwMode="auto">
          <a:xfrm>
            <a:off x="6300788" y="2894013"/>
            <a:ext cx="1511300" cy="431800"/>
            <a:chOff x="1259632" y="1214754"/>
            <a:chExt cx="3708192" cy="432048"/>
          </a:xfrm>
        </p:grpSpPr>
        <p:sp>
          <p:nvSpPr>
            <p:cNvPr id="16" name="26 Rectángulo redondeado"/>
            <p:cNvSpPr/>
            <p:nvPr/>
          </p:nvSpPr>
          <p:spPr>
            <a:xfrm>
              <a:off x="1259632" y="1214754"/>
              <a:ext cx="3708192" cy="432048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/>
            </a:p>
          </p:txBody>
        </p:sp>
        <p:sp>
          <p:nvSpPr>
            <p:cNvPr id="17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59634" y="1276702"/>
              <a:ext cx="3560173" cy="3079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algn="ctr" defTabSz="895350" eaLnBrk="1" hangingPunct="1">
                <a:defRPr/>
              </a:pPr>
              <a:r>
                <a:rPr lang="es-MX" sz="2000" b="1" kern="0" dirty="0">
                  <a:solidFill>
                    <a:schemeClr val="bg1"/>
                  </a:solidFill>
                  <a:latin typeface="+mj-lt"/>
                  <a:ea typeface="+mj-ea"/>
                  <a:cs typeface="Arial" pitchFamily="34" charset="0"/>
                </a:rPr>
                <a:t>Controlar</a:t>
              </a:r>
            </a:p>
          </p:txBody>
        </p:sp>
      </p:grpSp>
      <p:cxnSp>
        <p:nvCxnSpPr>
          <p:cNvPr id="18" name="39 Conector recto de flecha"/>
          <p:cNvCxnSpPr/>
          <p:nvPr/>
        </p:nvCxnSpPr>
        <p:spPr>
          <a:xfrm>
            <a:off x="4572000" y="3325813"/>
            <a:ext cx="0" cy="442912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44 Forma"/>
          <p:cNvCxnSpPr>
            <a:stCxn id="16" idx="2"/>
            <a:endCxn id="8197" idx="3"/>
          </p:cNvCxnSpPr>
          <p:nvPr/>
        </p:nvCxnSpPr>
        <p:spPr>
          <a:xfrm rot="5400000">
            <a:off x="6163469" y="3029744"/>
            <a:ext cx="596900" cy="1189038"/>
          </a:xfrm>
          <a:prstGeom prst="bentConnector2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50 Forma"/>
          <p:cNvCxnSpPr>
            <a:stCxn id="10" idx="2"/>
            <a:endCxn id="8197" idx="1"/>
          </p:cNvCxnSpPr>
          <p:nvPr/>
        </p:nvCxnSpPr>
        <p:spPr>
          <a:xfrm rot="16200000" flipH="1">
            <a:off x="2217738" y="3152775"/>
            <a:ext cx="596900" cy="942975"/>
          </a:xfrm>
          <a:prstGeom prst="bentConnector2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05" name="Text Box 27"/>
          <p:cNvSpPr txBox="1">
            <a:spLocks noChangeArrowheads="1"/>
          </p:cNvSpPr>
          <p:nvPr/>
        </p:nvSpPr>
        <p:spPr bwMode="gray">
          <a:xfrm>
            <a:off x="2497138" y="1484313"/>
            <a:ext cx="41402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indent="1588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lvl="1" algn="ctr">
              <a:spcBef>
                <a:spcPct val="20000"/>
              </a:spcBef>
              <a:buClr>
                <a:schemeClr val="tx1"/>
              </a:buClr>
              <a:buSzPct val="80000"/>
            </a:pPr>
            <a:r>
              <a:rPr lang="es-MX" altLang="zh-CN" sz="2000" b="1">
                <a:ea typeface="SimSun" panose="02010600030101010101" pitchFamily="2" charset="-122"/>
                <a:sym typeface="Symbol" panose="05050102010706020507" pitchFamily="18" charset="2"/>
              </a:rPr>
              <a:t>La calidad de servicio es un concepto que requiere…</a:t>
            </a:r>
            <a:endParaRPr lang="es-ES" altLang="zh-CN" sz="2000" b="1">
              <a:ea typeface="SimSun" panose="02010600030101010101" pitchFamily="2" charset="-122"/>
            </a:endParaRPr>
          </a:p>
        </p:txBody>
      </p:sp>
      <p:sp>
        <p:nvSpPr>
          <p:cNvPr id="22" name="28 Triángulo isósceles"/>
          <p:cNvSpPr/>
          <p:nvPr/>
        </p:nvSpPr>
        <p:spPr>
          <a:xfrm rot="10800000">
            <a:off x="3360738" y="4581525"/>
            <a:ext cx="2449512" cy="287338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/>
          </a:p>
        </p:txBody>
      </p:sp>
      <p:cxnSp>
        <p:nvCxnSpPr>
          <p:cNvPr id="23" name="30 Conector angular"/>
          <p:cNvCxnSpPr>
            <a:stCxn id="8205" idx="2"/>
            <a:endCxn id="10" idx="0"/>
          </p:cNvCxnSpPr>
          <p:nvPr/>
        </p:nvCxnSpPr>
        <p:spPr>
          <a:xfrm rot="5400000">
            <a:off x="2909094" y="1235869"/>
            <a:ext cx="793750" cy="2522538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34 Conector angular"/>
          <p:cNvCxnSpPr>
            <a:stCxn id="8205" idx="2"/>
            <a:endCxn id="16" idx="0"/>
          </p:cNvCxnSpPr>
          <p:nvPr/>
        </p:nvCxnSpPr>
        <p:spPr>
          <a:xfrm rot="16200000" flipH="1">
            <a:off x="5414963" y="1252538"/>
            <a:ext cx="793750" cy="2489200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35 Conector recto de flecha"/>
          <p:cNvCxnSpPr/>
          <p:nvPr/>
        </p:nvCxnSpPr>
        <p:spPr>
          <a:xfrm>
            <a:off x="4572000" y="2435225"/>
            <a:ext cx="0" cy="442913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7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7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0243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7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7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A5DD7EC1-5B1A-4F2B-A3FF-FF9E1F16F52D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1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024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… que se utilizan para competir en el mercado</a:t>
            </a:r>
          </a:p>
        </p:txBody>
      </p:sp>
      <p:sp>
        <p:nvSpPr>
          <p:cNvPr id="26" name="Text Box 27"/>
          <p:cNvSpPr txBox="1">
            <a:spLocks noChangeArrowheads="1"/>
          </p:cNvSpPr>
          <p:nvPr/>
        </p:nvSpPr>
        <p:spPr bwMode="gray">
          <a:xfrm>
            <a:off x="1822450" y="1225550"/>
            <a:ext cx="5399088" cy="9239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 indent="1588" algn="ctr">
              <a:spcBef>
                <a:spcPct val="20000"/>
              </a:spcBef>
              <a:buClr>
                <a:schemeClr val="tx1"/>
              </a:buClr>
              <a:buSzPct val="80000"/>
              <a:defRPr/>
            </a:pPr>
            <a:r>
              <a:rPr lang="es-MX" altLang="zh-CN" sz="2000" b="1" dirty="0">
                <a:latin typeface="+mj-lt"/>
                <a:ea typeface="SimSun" pitchFamily="2" charset="-122"/>
                <a:sym typeface="Symbol"/>
              </a:rPr>
              <a:t>El proveedor combina los diferentes parámetros de calidad de funcionamiento de la red para…</a:t>
            </a:r>
            <a:endParaRPr lang="es-ES" altLang="zh-CN" sz="2000" b="1" dirty="0">
              <a:latin typeface="+mj-lt"/>
              <a:ea typeface="SimSun" pitchFamily="2" charset="-122"/>
            </a:endParaRPr>
          </a:p>
        </p:txBody>
      </p:sp>
      <p:sp>
        <p:nvSpPr>
          <p:cNvPr id="35" name="20 Rectángulo redondeado"/>
          <p:cNvSpPr/>
          <p:nvPr/>
        </p:nvSpPr>
        <p:spPr bwMode="auto">
          <a:xfrm>
            <a:off x="676275" y="2894013"/>
            <a:ext cx="2160588" cy="1296000"/>
          </a:xfrm>
          <a:prstGeom prst="roundRect">
            <a:avLst/>
          </a:prstGeom>
          <a:solidFill>
            <a:srgbClr val="322ADA"/>
          </a:solidFill>
          <a:ln>
            <a:solidFill>
              <a:srgbClr val="322A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/>
          </a:p>
        </p:txBody>
      </p:sp>
      <p:sp>
        <p:nvSpPr>
          <p:cNvPr id="3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30250" y="2907428"/>
            <a:ext cx="2052638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defTabSz="895350" eaLnBrk="1" hangingPunct="1">
              <a:defRPr/>
            </a:pPr>
            <a:r>
              <a:rPr lang="es-MX" sz="2000" b="1" kern="0" dirty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… atender sus propias exigencias económicas</a:t>
            </a:r>
          </a:p>
        </p:txBody>
      </p:sp>
      <p:sp>
        <p:nvSpPr>
          <p:cNvPr id="33" name="52 Rectángulo redondeado"/>
          <p:cNvSpPr/>
          <p:nvPr/>
        </p:nvSpPr>
        <p:spPr bwMode="auto">
          <a:xfrm>
            <a:off x="3452813" y="2894013"/>
            <a:ext cx="2160587" cy="1296000"/>
          </a:xfrm>
          <a:prstGeom prst="roundRect">
            <a:avLst/>
          </a:prstGeom>
          <a:solidFill>
            <a:srgbClr val="322ADA"/>
          </a:solidFill>
          <a:ln>
            <a:solidFill>
              <a:srgbClr val="322A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/>
          </a:p>
        </p:txBody>
      </p:sp>
      <p:sp>
        <p:nvSpPr>
          <p:cNvPr id="34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506788" y="3071204"/>
            <a:ext cx="205263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defTabSz="895350" eaLnBrk="1" hangingPunct="1">
              <a:defRPr/>
            </a:pPr>
            <a:r>
              <a:rPr lang="es-MX" sz="2000" b="1" kern="0" dirty="0">
                <a:solidFill>
                  <a:schemeClr val="bg1"/>
                </a:solidFill>
                <a:cs typeface="Arial" pitchFamily="34" charset="0"/>
              </a:rPr>
              <a:t>… diferenciar sus productos y servicios</a:t>
            </a:r>
          </a:p>
        </p:txBody>
      </p:sp>
      <p:sp>
        <p:nvSpPr>
          <p:cNvPr id="31" name="54 Rectángulo redondeado"/>
          <p:cNvSpPr/>
          <p:nvPr/>
        </p:nvSpPr>
        <p:spPr bwMode="auto">
          <a:xfrm>
            <a:off x="6216650" y="2894013"/>
            <a:ext cx="2160588" cy="1296000"/>
          </a:xfrm>
          <a:prstGeom prst="roundRect">
            <a:avLst/>
          </a:prstGeom>
          <a:solidFill>
            <a:srgbClr val="322ADA"/>
          </a:solidFill>
          <a:ln>
            <a:solidFill>
              <a:srgbClr val="322A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/>
          </a:p>
        </p:txBody>
      </p:sp>
      <p:sp>
        <p:nvSpPr>
          <p:cNvPr id="32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270625" y="3071204"/>
            <a:ext cx="2052638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algn="ctr" defTabSz="895350" eaLnBrk="1" hangingPunct="1">
              <a:defRPr/>
            </a:pPr>
            <a:r>
              <a:rPr lang="es-MX" sz="2000" b="1" kern="0" dirty="0">
                <a:solidFill>
                  <a:schemeClr val="bg1"/>
                </a:solidFill>
                <a:cs typeface="Arial" pitchFamily="34" charset="0"/>
              </a:rPr>
              <a:t>… conseguir la satisfacción del  usuario</a:t>
            </a:r>
          </a:p>
        </p:txBody>
      </p:sp>
      <p:sp>
        <p:nvSpPr>
          <p:cNvPr id="10247" name="Text Box 27"/>
          <p:cNvSpPr txBox="1">
            <a:spLocks noChangeArrowheads="1"/>
          </p:cNvSpPr>
          <p:nvPr/>
        </p:nvSpPr>
        <p:spPr bwMode="gray">
          <a:xfrm>
            <a:off x="2744788" y="4769674"/>
            <a:ext cx="360045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indent="1588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marL="0" lvl="1" algn="ctr">
              <a:spcBef>
                <a:spcPct val="20000"/>
              </a:spcBef>
              <a:buClr>
                <a:schemeClr val="tx1"/>
              </a:buClr>
              <a:buSzPct val="80000"/>
            </a:pPr>
            <a:r>
              <a:rPr lang="es-MX" altLang="zh-CN" sz="2000" b="1" dirty="0">
                <a:ea typeface="SimSun" panose="02010600030101010101" pitchFamily="2" charset="-122"/>
                <a:sym typeface="Symbol" panose="05050102010706020507" pitchFamily="18" charset="2"/>
              </a:rPr>
              <a:t>La calidad de servicio es una variable clave para</a:t>
            </a:r>
            <a:endParaRPr lang="es-ES" altLang="zh-CN" sz="2000" b="1" dirty="0">
              <a:ea typeface="SimSun" panose="02010600030101010101" pitchFamily="2" charset="-122"/>
            </a:endParaRPr>
          </a:p>
        </p:txBody>
      </p:sp>
      <p:sp>
        <p:nvSpPr>
          <p:cNvPr id="38" name="60 Triángulo isósceles"/>
          <p:cNvSpPr/>
          <p:nvPr/>
        </p:nvSpPr>
        <p:spPr>
          <a:xfrm rot="10800000">
            <a:off x="3302000" y="4333875"/>
            <a:ext cx="2449513" cy="288925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/>
          </a:p>
        </p:txBody>
      </p:sp>
      <p:grpSp>
        <p:nvGrpSpPr>
          <p:cNvPr id="10249" name="68 Grupo"/>
          <p:cNvGrpSpPr>
            <a:grpSpLocks/>
          </p:cNvGrpSpPr>
          <p:nvPr/>
        </p:nvGrpSpPr>
        <p:grpSpPr bwMode="auto">
          <a:xfrm>
            <a:off x="3446463" y="5485863"/>
            <a:ext cx="2160587" cy="720725"/>
            <a:chOff x="3203848" y="5157192"/>
            <a:chExt cx="2160000" cy="720080"/>
          </a:xfrm>
        </p:grpSpPr>
        <p:sp>
          <p:nvSpPr>
            <p:cNvPr id="40" name="67 Rectángulo redondeado"/>
            <p:cNvSpPr/>
            <p:nvPr/>
          </p:nvSpPr>
          <p:spPr>
            <a:xfrm>
              <a:off x="3203848" y="5157192"/>
              <a:ext cx="2160000" cy="720080"/>
            </a:xfrm>
            <a:prstGeom prst="round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MX"/>
            </a:p>
          </p:txBody>
        </p:sp>
        <p:sp>
          <p:nvSpPr>
            <p:cNvPr id="41" name="Rectangle 4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3510152" y="5363382"/>
              <a:ext cx="1547392" cy="3076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algn="ctr" defTabSz="895350" eaLnBrk="1" hangingPunct="1">
                <a:defRPr/>
              </a:pPr>
              <a:r>
                <a:rPr lang="es-MX" sz="2000" b="1" kern="0" dirty="0">
                  <a:solidFill>
                    <a:schemeClr val="bg1"/>
                  </a:solidFill>
                  <a:latin typeface="+mj-lt"/>
                  <a:ea typeface="+mj-ea"/>
                  <a:cs typeface="Arial" pitchFamily="34" charset="0"/>
                </a:rPr>
                <a:t>competir</a:t>
              </a:r>
            </a:p>
          </p:txBody>
        </p:sp>
      </p:grpSp>
      <p:cxnSp>
        <p:nvCxnSpPr>
          <p:cNvPr id="42" name="70 Conector angular"/>
          <p:cNvCxnSpPr>
            <a:stCxn id="26" idx="2"/>
            <a:endCxn id="35" idx="0"/>
          </p:cNvCxnSpPr>
          <p:nvPr/>
        </p:nvCxnSpPr>
        <p:spPr>
          <a:xfrm rot="5400000">
            <a:off x="2767013" y="1139032"/>
            <a:ext cx="744538" cy="2765425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72 Conector angular"/>
          <p:cNvCxnSpPr>
            <a:stCxn id="26" idx="2"/>
            <a:endCxn id="31" idx="0"/>
          </p:cNvCxnSpPr>
          <p:nvPr/>
        </p:nvCxnSpPr>
        <p:spPr>
          <a:xfrm rot="16200000" flipH="1">
            <a:off x="5537200" y="1134269"/>
            <a:ext cx="744538" cy="2774950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73 Conector recto de flecha"/>
          <p:cNvCxnSpPr/>
          <p:nvPr/>
        </p:nvCxnSpPr>
        <p:spPr>
          <a:xfrm>
            <a:off x="4533900" y="2462213"/>
            <a:ext cx="0" cy="442912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9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0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9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8435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9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0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9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DF655DFC-F8C3-414F-9AE6-F43C52934750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1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43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Una</a:t>
            </a:r>
            <a:r>
              <a:rPr lang="en-US" dirty="0" smtClean="0"/>
              <a:t> </a:t>
            </a:r>
            <a:r>
              <a:rPr lang="en-US" dirty="0" err="1" smtClean="0"/>
              <a:t>QoS</a:t>
            </a:r>
            <a:r>
              <a:rPr lang="en-US" dirty="0" smtClean="0"/>
              <a:t> </a:t>
            </a:r>
            <a:r>
              <a:rPr lang="en-US" dirty="0" err="1" smtClean="0"/>
              <a:t>homogénea</a:t>
            </a:r>
            <a:r>
              <a:rPr lang="en-US" dirty="0" smtClean="0"/>
              <a:t> </a:t>
            </a:r>
            <a:r>
              <a:rPr lang="en-US" dirty="0" err="1" smtClean="0"/>
              <a:t>tiene</a:t>
            </a:r>
            <a:r>
              <a:rPr lang="en-US" dirty="0" smtClean="0"/>
              <a:t> </a:t>
            </a:r>
            <a:r>
              <a:rPr lang="en-US" dirty="0" err="1" smtClean="0"/>
              <a:t>implicaciones</a:t>
            </a:r>
            <a:r>
              <a:rPr lang="en-US" dirty="0" smtClean="0"/>
              <a:t> no </a:t>
            </a:r>
            <a:r>
              <a:rPr lang="en-US" dirty="0" err="1" smtClean="0"/>
              <a:t>deseables</a:t>
            </a:r>
            <a:endParaRPr lang="en-US" dirty="0" smtClean="0"/>
          </a:p>
        </p:txBody>
      </p:sp>
      <p:cxnSp>
        <p:nvCxnSpPr>
          <p:cNvPr id="20" name="43 Conector recto"/>
          <p:cNvCxnSpPr/>
          <p:nvPr/>
        </p:nvCxnSpPr>
        <p:spPr>
          <a:xfrm>
            <a:off x="4372880" y="1825981"/>
            <a:ext cx="0" cy="4590000"/>
          </a:xfrm>
          <a:prstGeom prst="line">
            <a:avLst/>
          </a:prstGeom>
          <a:ln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1 Gráfico"/>
          <p:cNvGraphicFramePr/>
          <p:nvPr>
            <p:extLst>
              <p:ext uri="{D42A27DB-BD31-4B8C-83A1-F6EECF244321}">
                <p14:modId xmlns:p14="http://schemas.microsoft.com/office/powerpoint/2010/main" val="1607955408"/>
              </p:ext>
            </p:extLst>
          </p:nvPr>
        </p:nvGraphicFramePr>
        <p:xfrm>
          <a:off x="2073096" y="1700808"/>
          <a:ext cx="6336000" cy="3289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2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14290" y="1323352"/>
            <a:ext cx="230425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600" b="1" kern="0" dirty="0" smtClean="0">
                <a:latin typeface="+mj-lt"/>
                <a:ea typeface="+mj-ea"/>
                <a:cs typeface="Arial" pitchFamily="34" charset="0"/>
              </a:rPr>
              <a:t>Calidad demandada</a:t>
            </a:r>
          </a:p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i="0" u="none" strike="noStrike" kern="0" cap="none" spc="0" normalizeH="0" baseline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Medición</a:t>
            </a:r>
            <a:r>
              <a:rPr kumimoji="0" lang="es-MX" sz="1600" i="0" u="none" strike="noStrike" kern="0" cap="none" spc="0" normalizeH="0" dirty="0" smtClean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 indexada</a:t>
            </a:r>
            <a:endParaRPr kumimoji="0" lang="es-MX" sz="1600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3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969768" y="4895992"/>
            <a:ext cx="230425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600" b="1" kern="0" dirty="0" smtClean="0">
                <a:latin typeface="+mj-lt"/>
                <a:ea typeface="+mj-ea"/>
                <a:cs typeface="Arial" pitchFamily="34" charset="0"/>
              </a:rPr>
              <a:t>Demanda (usuarios)</a:t>
            </a:r>
            <a:endParaRPr kumimoji="0" lang="es-MX" sz="16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4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2138" y="3629341"/>
            <a:ext cx="136815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600" b="1" kern="0" dirty="0" smtClean="0">
                <a:latin typeface="+mj-lt"/>
                <a:ea typeface="+mj-ea"/>
                <a:cs typeface="Arial" pitchFamily="34" charset="0"/>
              </a:rPr>
              <a:t>Calidad homogénea</a:t>
            </a:r>
            <a:endParaRPr kumimoji="0" lang="es-MX" sz="16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5" name="38 Flecha izquierda y derecha"/>
          <p:cNvSpPr/>
          <p:nvPr/>
        </p:nvSpPr>
        <p:spPr>
          <a:xfrm>
            <a:off x="2223944" y="5104750"/>
            <a:ext cx="2124000" cy="1080000"/>
          </a:xfrm>
          <a:prstGeom prst="leftRightArrow">
            <a:avLst/>
          </a:prstGeom>
          <a:solidFill>
            <a:srgbClr val="FA12CE"/>
          </a:solidFill>
          <a:ln>
            <a:solidFill>
              <a:srgbClr val="FA12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cxnSp>
        <p:nvCxnSpPr>
          <p:cNvPr id="26" name="49 Conector recto"/>
          <p:cNvCxnSpPr/>
          <p:nvPr/>
        </p:nvCxnSpPr>
        <p:spPr>
          <a:xfrm>
            <a:off x="2242680" y="3889504"/>
            <a:ext cx="6012000" cy="0"/>
          </a:xfrm>
          <a:prstGeom prst="line">
            <a:avLst/>
          </a:prstGeom>
          <a:ln w="12700">
            <a:solidFill>
              <a:srgbClr val="00206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73752" y="5367577"/>
            <a:ext cx="188830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800" b="1" kern="0" dirty="0" smtClean="0">
                <a:latin typeface="+mj-lt"/>
                <a:ea typeface="+mj-ea"/>
                <a:cs typeface="Arial" pitchFamily="34" charset="0"/>
              </a:rPr>
              <a:t>Clientes insatisfechos</a:t>
            </a:r>
            <a:endParaRPr kumimoji="0" lang="es-MX" sz="18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8" name="38 Flecha izquierda y derecha"/>
          <p:cNvSpPr/>
          <p:nvPr/>
        </p:nvSpPr>
        <p:spPr>
          <a:xfrm>
            <a:off x="4390294" y="5423812"/>
            <a:ext cx="3906000" cy="1080000"/>
          </a:xfrm>
          <a:prstGeom prst="left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sp>
        <p:nvSpPr>
          <p:cNvPr id="29" name="Rectangle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283348" y="5679684"/>
            <a:ext cx="2185014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800" b="1" kern="0" dirty="0" smtClean="0">
                <a:latin typeface="+mj-lt"/>
                <a:ea typeface="+mj-ea"/>
                <a:cs typeface="Arial" pitchFamily="34" charset="0"/>
              </a:rPr>
              <a:t>Recursos desperdiciados</a:t>
            </a:r>
            <a:endParaRPr kumimoji="0" lang="es-MX" sz="18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30" name="Flecha derecha 29"/>
          <p:cNvSpPr/>
          <p:nvPr/>
        </p:nvSpPr>
        <p:spPr>
          <a:xfrm>
            <a:off x="1916154" y="3771624"/>
            <a:ext cx="271934" cy="265829"/>
          </a:xfrm>
          <a:prstGeom prst="rightArrow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sz="1600"/>
          </a:p>
        </p:txBody>
      </p:sp>
      <p:grpSp>
        <p:nvGrpSpPr>
          <p:cNvPr id="31" name="Grupo 30"/>
          <p:cNvGrpSpPr/>
          <p:nvPr/>
        </p:nvGrpSpPr>
        <p:grpSpPr>
          <a:xfrm>
            <a:off x="7617039" y="1163344"/>
            <a:ext cx="1149376" cy="185246"/>
            <a:chOff x="7617039" y="1340768"/>
            <a:chExt cx="1149376" cy="185246"/>
          </a:xfrm>
        </p:grpSpPr>
        <p:sp>
          <p:nvSpPr>
            <p:cNvPr id="32" name="Rectangle 4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7617039" y="1341348"/>
              <a:ext cx="1149376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1200" i="1" kern="0" dirty="0" smtClean="0">
                  <a:latin typeface="+mj-lt"/>
                  <a:ea typeface="+mj-ea"/>
                  <a:cs typeface="Arial" pitchFamily="34" charset="0"/>
                </a:rPr>
                <a:t>CONCEPTUAL</a:t>
              </a:r>
              <a:endParaRPr kumimoji="0" lang="es-MX" sz="1200" i="1" u="none" strike="noStrike" kern="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  <p:cxnSp>
          <p:nvCxnSpPr>
            <p:cNvPr id="33" name="Conector recto 32"/>
            <p:cNvCxnSpPr/>
            <p:nvPr/>
          </p:nvCxnSpPr>
          <p:spPr>
            <a:xfrm>
              <a:off x="7680983" y="1340768"/>
              <a:ext cx="1015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ector recto 33"/>
            <p:cNvCxnSpPr/>
            <p:nvPr/>
          </p:nvCxnSpPr>
          <p:spPr>
            <a:xfrm>
              <a:off x="7680983" y="1515848"/>
              <a:ext cx="1015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6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7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6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6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7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6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18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>
          <a:xfrm>
            <a:off x="-80210" y="0"/>
            <a:ext cx="9288000" cy="1143000"/>
          </a:xfrm>
        </p:spPr>
        <p:txBody>
          <a:bodyPr/>
          <a:lstStyle/>
          <a:p>
            <a:r>
              <a:rPr lang="en-US" dirty="0" smtClean="0"/>
              <a:t>La </a:t>
            </a:r>
            <a:r>
              <a:rPr lang="en-US" dirty="0" err="1" smtClean="0"/>
              <a:t>QoS</a:t>
            </a:r>
            <a:r>
              <a:rPr lang="en-US" dirty="0" smtClean="0"/>
              <a:t> </a:t>
            </a:r>
            <a:r>
              <a:rPr lang="en-US" dirty="0" err="1" smtClean="0"/>
              <a:t>tiene</a:t>
            </a:r>
            <a:r>
              <a:rPr lang="en-US" dirty="0" smtClean="0"/>
              <a:t> </a:t>
            </a:r>
            <a:r>
              <a:rPr lang="en-US" dirty="0" err="1" smtClean="0"/>
              <a:t>efectos</a:t>
            </a:r>
            <a:r>
              <a:rPr lang="en-US" dirty="0" smtClean="0"/>
              <a:t> en </a:t>
            </a:r>
            <a:r>
              <a:rPr lang="en-US" dirty="0" err="1" smtClean="0"/>
              <a:t>muchas</a:t>
            </a:r>
            <a:r>
              <a:rPr lang="en-US" dirty="0" smtClean="0"/>
              <a:t> </a:t>
            </a:r>
            <a:r>
              <a:rPr lang="en-US" dirty="0" err="1" smtClean="0"/>
              <a:t>dimensiones</a:t>
            </a:r>
            <a:r>
              <a:rPr lang="en-US" dirty="0" smtClean="0"/>
              <a:t> del </a:t>
            </a:r>
            <a:r>
              <a:rPr lang="en-US" dirty="0" err="1" smtClean="0"/>
              <a:t>desarrollo</a:t>
            </a:r>
            <a:r>
              <a:rPr lang="en-US" dirty="0" smtClean="0"/>
              <a:t> del </a:t>
            </a:r>
            <a:r>
              <a:rPr lang="en-US" dirty="0" err="1" smtClean="0"/>
              <a:t>mercado</a:t>
            </a:r>
            <a:endParaRPr lang="en-US" dirty="0" smtClean="0"/>
          </a:p>
        </p:txBody>
      </p:sp>
      <p:grpSp>
        <p:nvGrpSpPr>
          <p:cNvPr id="8" name="65 Grupo"/>
          <p:cNvGrpSpPr/>
          <p:nvPr/>
        </p:nvGrpSpPr>
        <p:grpSpPr>
          <a:xfrm>
            <a:off x="5076056" y="3287984"/>
            <a:ext cx="3528000" cy="486000"/>
            <a:chOff x="5076056" y="2896264"/>
            <a:chExt cx="3357080" cy="486000"/>
          </a:xfrm>
        </p:grpSpPr>
        <p:sp>
          <p:nvSpPr>
            <p:cNvPr id="9" name="36 Rectángulo redondeado"/>
            <p:cNvSpPr/>
            <p:nvPr/>
          </p:nvSpPr>
          <p:spPr>
            <a:xfrm>
              <a:off x="5076056" y="2896264"/>
              <a:ext cx="3240000" cy="486000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>
                <a:solidFill>
                  <a:schemeClr val="bg1"/>
                </a:solidFill>
              </a:endParaRPr>
            </a:p>
          </p:txBody>
        </p:sp>
        <p:sp>
          <p:nvSpPr>
            <p:cNvPr id="10" name="Text Box 27"/>
            <p:cNvSpPr txBox="1">
              <a:spLocks noChangeArrowheads="1"/>
            </p:cNvSpPr>
            <p:nvPr/>
          </p:nvSpPr>
          <p:spPr bwMode="gray">
            <a:xfrm>
              <a:off x="5264784" y="2985376"/>
              <a:ext cx="3168352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lvl="1" indent="1588" eaLnBrk="0" hangingPunct="0">
                <a:spcBef>
                  <a:spcPct val="20000"/>
                </a:spcBef>
                <a:buClr>
                  <a:schemeClr val="tx1"/>
                </a:buClr>
                <a:buSzPct val="80000"/>
              </a:pPr>
              <a:r>
                <a:rPr lang="es-MX" altLang="zh-CN" sz="1600" b="1" dirty="0" smtClean="0">
                  <a:solidFill>
                    <a:schemeClr val="bg1"/>
                  </a:solidFill>
                  <a:ea typeface="SimSun" pitchFamily="2" charset="-122"/>
                  <a:sym typeface="Symbol"/>
                </a:rPr>
                <a:t>Segmentación del mercado</a:t>
              </a:r>
              <a:endParaRPr lang="es-ES" altLang="zh-CN" sz="1600" b="1" dirty="0" smtClean="0">
                <a:solidFill>
                  <a:schemeClr val="bg1"/>
                </a:solidFill>
                <a:ea typeface="SimSun" pitchFamily="2" charset="-122"/>
              </a:endParaRPr>
            </a:p>
          </p:txBody>
        </p:sp>
      </p:grpSp>
      <p:grpSp>
        <p:nvGrpSpPr>
          <p:cNvPr id="11" name="68 Grupo"/>
          <p:cNvGrpSpPr/>
          <p:nvPr/>
        </p:nvGrpSpPr>
        <p:grpSpPr>
          <a:xfrm>
            <a:off x="5076056" y="4601504"/>
            <a:ext cx="3528000" cy="486000"/>
            <a:chOff x="5076056" y="4237080"/>
            <a:chExt cx="3357080" cy="486000"/>
          </a:xfrm>
        </p:grpSpPr>
        <p:sp>
          <p:nvSpPr>
            <p:cNvPr id="12" name="48 Rectángulo redondeado"/>
            <p:cNvSpPr/>
            <p:nvPr/>
          </p:nvSpPr>
          <p:spPr>
            <a:xfrm>
              <a:off x="5076056" y="4237080"/>
              <a:ext cx="3240000" cy="486000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>
                <a:solidFill>
                  <a:schemeClr val="bg1"/>
                </a:solidFill>
              </a:endParaRPr>
            </a:p>
          </p:txBody>
        </p:sp>
        <p:sp>
          <p:nvSpPr>
            <p:cNvPr id="13" name="Text Box 27"/>
            <p:cNvSpPr txBox="1">
              <a:spLocks noChangeArrowheads="1"/>
            </p:cNvSpPr>
            <p:nvPr/>
          </p:nvSpPr>
          <p:spPr bwMode="gray">
            <a:xfrm>
              <a:off x="5264784" y="4342234"/>
              <a:ext cx="3168352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lvl="1" indent="1588" eaLnBrk="0" hangingPunct="0">
                <a:spcBef>
                  <a:spcPct val="20000"/>
                </a:spcBef>
                <a:buClr>
                  <a:schemeClr val="tx1"/>
                </a:buClr>
                <a:buSzPct val="80000"/>
              </a:pPr>
              <a:r>
                <a:rPr lang="es-MX" altLang="zh-CN" sz="1600" b="1" dirty="0" smtClean="0">
                  <a:solidFill>
                    <a:schemeClr val="bg1"/>
                  </a:solidFill>
                  <a:ea typeface="SimSun" pitchFamily="2" charset="-122"/>
                  <a:sym typeface="Symbol"/>
                </a:rPr>
                <a:t>Control de costos</a:t>
              </a:r>
              <a:endParaRPr lang="es-ES" altLang="zh-CN" sz="1600" b="1" dirty="0" smtClean="0">
                <a:solidFill>
                  <a:schemeClr val="bg1"/>
                </a:solidFill>
                <a:ea typeface="SimSun" pitchFamily="2" charset="-122"/>
              </a:endParaRPr>
            </a:p>
          </p:txBody>
        </p:sp>
      </p:grpSp>
      <p:grpSp>
        <p:nvGrpSpPr>
          <p:cNvPr id="14" name="69 Grupo"/>
          <p:cNvGrpSpPr/>
          <p:nvPr/>
        </p:nvGrpSpPr>
        <p:grpSpPr>
          <a:xfrm>
            <a:off x="5076056" y="5158439"/>
            <a:ext cx="3528000" cy="684000"/>
            <a:chOff x="5076056" y="4807663"/>
            <a:chExt cx="3357080" cy="684000"/>
          </a:xfrm>
        </p:grpSpPr>
        <p:sp>
          <p:nvSpPr>
            <p:cNvPr id="15" name="43 Rectángulo redondeado"/>
            <p:cNvSpPr/>
            <p:nvPr/>
          </p:nvSpPr>
          <p:spPr>
            <a:xfrm>
              <a:off x="5076056" y="4807663"/>
              <a:ext cx="3240000" cy="684000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>
                <a:solidFill>
                  <a:schemeClr val="bg1"/>
                </a:solidFill>
              </a:endParaRPr>
            </a:p>
          </p:txBody>
        </p:sp>
        <p:sp>
          <p:nvSpPr>
            <p:cNvPr id="16" name="Text Box 27"/>
            <p:cNvSpPr txBox="1">
              <a:spLocks noChangeArrowheads="1"/>
            </p:cNvSpPr>
            <p:nvPr/>
          </p:nvSpPr>
          <p:spPr bwMode="gray">
            <a:xfrm>
              <a:off x="5264784" y="4890013"/>
              <a:ext cx="3168352" cy="49244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lvl="1" indent="1588" eaLnBrk="0" hangingPunct="0">
                <a:spcBef>
                  <a:spcPct val="20000"/>
                </a:spcBef>
                <a:buClr>
                  <a:schemeClr val="tx1"/>
                </a:buClr>
                <a:buSzPct val="80000"/>
              </a:pPr>
              <a:r>
                <a:rPr lang="es-MX" altLang="zh-CN" sz="1600" b="1" dirty="0" smtClean="0">
                  <a:solidFill>
                    <a:schemeClr val="bg1"/>
                  </a:solidFill>
                  <a:ea typeface="SimSun" pitchFamily="2" charset="-122"/>
                  <a:sym typeface="Symbol"/>
                </a:rPr>
                <a:t>Optimización de la relación precio/calidad</a:t>
              </a:r>
              <a:endParaRPr lang="es-ES" altLang="zh-CN" sz="1600" b="1" dirty="0" smtClean="0">
                <a:solidFill>
                  <a:schemeClr val="bg1"/>
                </a:solidFill>
                <a:ea typeface="SimSun" pitchFamily="2" charset="-122"/>
              </a:endParaRPr>
            </a:p>
          </p:txBody>
        </p:sp>
      </p:grpSp>
      <p:grpSp>
        <p:nvGrpSpPr>
          <p:cNvPr id="17" name="74 Grupo"/>
          <p:cNvGrpSpPr/>
          <p:nvPr/>
        </p:nvGrpSpPr>
        <p:grpSpPr>
          <a:xfrm>
            <a:off x="5076056" y="5915064"/>
            <a:ext cx="3528000" cy="486000"/>
            <a:chOff x="5076056" y="5564288"/>
            <a:chExt cx="3357080" cy="486000"/>
          </a:xfrm>
        </p:grpSpPr>
        <p:sp>
          <p:nvSpPr>
            <p:cNvPr id="18" name="49 Rectángulo redondeado"/>
            <p:cNvSpPr/>
            <p:nvPr/>
          </p:nvSpPr>
          <p:spPr>
            <a:xfrm>
              <a:off x="5076056" y="5564288"/>
              <a:ext cx="3240000" cy="486000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>
                <a:solidFill>
                  <a:schemeClr val="bg1"/>
                </a:solidFill>
              </a:endParaRPr>
            </a:p>
          </p:txBody>
        </p:sp>
        <p:sp>
          <p:nvSpPr>
            <p:cNvPr id="19" name="Text Box 27"/>
            <p:cNvSpPr txBox="1">
              <a:spLocks noChangeArrowheads="1"/>
            </p:cNvSpPr>
            <p:nvPr/>
          </p:nvSpPr>
          <p:spPr bwMode="gray">
            <a:xfrm>
              <a:off x="5264784" y="5653400"/>
              <a:ext cx="3168352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lvl="1" indent="1588" eaLnBrk="0" hangingPunct="0">
                <a:spcBef>
                  <a:spcPct val="20000"/>
                </a:spcBef>
                <a:buClr>
                  <a:schemeClr val="tx1"/>
                </a:buClr>
                <a:buSzPct val="80000"/>
              </a:pPr>
              <a:r>
                <a:rPr lang="es-MX" altLang="zh-CN" sz="1600" b="1" dirty="0" smtClean="0">
                  <a:solidFill>
                    <a:schemeClr val="bg1"/>
                  </a:solidFill>
                  <a:ea typeface="SimSun" pitchFamily="2" charset="-122"/>
                  <a:sym typeface="Symbol"/>
                </a:rPr>
                <a:t>Inversiones productivas</a:t>
              </a:r>
              <a:endParaRPr lang="es-ES" altLang="zh-CN" sz="1600" b="1" dirty="0" smtClean="0">
                <a:solidFill>
                  <a:schemeClr val="bg1"/>
                </a:solidFill>
                <a:ea typeface="SimSun" pitchFamily="2" charset="-122"/>
              </a:endParaRPr>
            </a:p>
          </p:txBody>
        </p:sp>
      </p:grpSp>
      <p:grpSp>
        <p:nvGrpSpPr>
          <p:cNvPr id="20" name="75 Grupo"/>
          <p:cNvGrpSpPr/>
          <p:nvPr/>
        </p:nvGrpSpPr>
        <p:grpSpPr>
          <a:xfrm>
            <a:off x="5076056" y="3845496"/>
            <a:ext cx="3528000" cy="684000"/>
            <a:chOff x="5076056" y="3467424"/>
            <a:chExt cx="3357080" cy="684000"/>
          </a:xfrm>
        </p:grpSpPr>
        <p:sp>
          <p:nvSpPr>
            <p:cNvPr id="21" name="44 Rectángulo redondeado"/>
            <p:cNvSpPr/>
            <p:nvPr/>
          </p:nvSpPr>
          <p:spPr>
            <a:xfrm>
              <a:off x="5076056" y="3467424"/>
              <a:ext cx="3240000" cy="684000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>
                <a:solidFill>
                  <a:schemeClr val="bg1"/>
                </a:solidFill>
              </a:endParaRPr>
            </a:p>
          </p:txBody>
        </p:sp>
        <p:sp>
          <p:nvSpPr>
            <p:cNvPr id="22" name="Text Box 27"/>
            <p:cNvSpPr txBox="1">
              <a:spLocks noChangeArrowheads="1"/>
            </p:cNvSpPr>
            <p:nvPr/>
          </p:nvSpPr>
          <p:spPr bwMode="gray">
            <a:xfrm>
              <a:off x="5264784" y="3549774"/>
              <a:ext cx="3168352" cy="49244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lvl="1" indent="1588" eaLnBrk="0" hangingPunct="0">
                <a:spcBef>
                  <a:spcPct val="20000"/>
                </a:spcBef>
                <a:buClr>
                  <a:schemeClr val="tx1"/>
                </a:buClr>
                <a:buSzPct val="80000"/>
              </a:pPr>
              <a:r>
                <a:rPr lang="es-MX" altLang="zh-CN" sz="1600" b="1" dirty="0" smtClean="0">
                  <a:solidFill>
                    <a:schemeClr val="bg1"/>
                  </a:solidFill>
                  <a:ea typeface="SimSun" pitchFamily="2" charset="-122"/>
                  <a:sym typeface="Symbol"/>
                </a:rPr>
                <a:t>Ofertas adecuadas a las demandas de los clientes</a:t>
              </a:r>
              <a:endParaRPr lang="es-ES" altLang="zh-CN" sz="1600" b="1" dirty="0" smtClean="0">
                <a:solidFill>
                  <a:schemeClr val="bg1"/>
                </a:solidFill>
                <a:ea typeface="SimSun" pitchFamily="2" charset="-122"/>
              </a:endParaRPr>
            </a:p>
          </p:txBody>
        </p:sp>
      </p:grpSp>
      <p:grpSp>
        <p:nvGrpSpPr>
          <p:cNvPr id="23" name="66 Grupo"/>
          <p:cNvGrpSpPr/>
          <p:nvPr/>
        </p:nvGrpSpPr>
        <p:grpSpPr>
          <a:xfrm>
            <a:off x="5076056" y="1787080"/>
            <a:ext cx="3528000" cy="486000"/>
            <a:chOff x="5076056" y="1395360"/>
            <a:chExt cx="3357080" cy="486000"/>
          </a:xfrm>
        </p:grpSpPr>
        <p:sp>
          <p:nvSpPr>
            <p:cNvPr id="24" name="46 Rectángulo redondeado"/>
            <p:cNvSpPr/>
            <p:nvPr/>
          </p:nvSpPr>
          <p:spPr>
            <a:xfrm>
              <a:off x="5076056" y="1395360"/>
              <a:ext cx="3240000" cy="486000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>
                <a:solidFill>
                  <a:schemeClr val="bg1"/>
                </a:solidFill>
              </a:endParaRPr>
            </a:p>
          </p:txBody>
        </p:sp>
        <p:sp>
          <p:nvSpPr>
            <p:cNvPr id="25" name="Text Box 27"/>
            <p:cNvSpPr txBox="1">
              <a:spLocks noChangeArrowheads="1"/>
            </p:cNvSpPr>
            <p:nvPr/>
          </p:nvSpPr>
          <p:spPr bwMode="gray">
            <a:xfrm>
              <a:off x="5264784" y="1484472"/>
              <a:ext cx="3168352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lvl="1" indent="1588" eaLnBrk="0" hangingPunct="0">
                <a:spcBef>
                  <a:spcPct val="20000"/>
                </a:spcBef>
                <a:buClr>
                  <a:schemeClr val="tx1"/>
                </a:buClr>
                <a:buSzPct val="80000"/>
              </a:pPr>
              <a:r>
                <a:rPr lang="es-MX" altLang="zh-CN" sz="1600" b="1" dirty="0" smtClean="0">
                  <a:solidFill>
                    <a:schemeClr val="bg1"/>
                  </a:solidFill>
                  <a:ea typeface="SimSun" pitchFamily="2" charset="-122"/>
                  <a:sym typeface="Symbol"/>
                </a:rPr>
                <a:t>Inversiones</a:t>
              </a:r>
              <a:endParaRPr lang="es-ES" altLang="zh-CN" sz="1600" b="1" dirty="0" smtClean="0">
                <a:solidFill>
                  <a:schemeClr val="bg1"/>
                </a:solidFill>
                <a:ea typeface="SimSun" pitchFamily="2" charset="-122"/>
              </a:endParaRPr>
            </a:p>
          </p:txBody>
        </p:sp>
      </p:grpSp>
      <p:grpSp>
        <p:nvGrpSpPr>
          <p:cNvPr id="26" name="71 Grupo"/>
          <p:cNvGrpSpPr/>
          <p:nvPr/>
        </p:nvGrpSpPr>
        <p:grpSpPr>
          <a:xfrm>
            <a:off x="5076056" y="1228432"/>
            <a:ext cx="3528000" cy="486000"/>
            <a:chOff x="5076056" y="836712"/>
            <a:chExt cx="3357080" cy="486000"/>
          </a:xfrm>
        </p:grpSpPr>
        <p:sp>
          <p:nvSpPr>
            <p:cNvPr id="27" name="45 Rectángulo redondeado"/>
            <p:cNvSpPr/>
            <p:nvPr/>
          </p:nvSpPr>
          <p:spPr>
            <a:xfrm>
              <a:off x="5076056" y="836712"/>
              <a:ext cx="3240000" cy="486000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>
                <a:solidFill>
                  <a:schemeClr val="bg1"/>
                </a:solidFill>
              </a:endParaRPr>
            </a:p>
          </p:txBody>
        </p:sp>
        <p:sp>
          <p:nvSpPr>
            <p:cNvPr id="28" name="Text Box 27"/>
            <p:cNvSpPr txBox="1">
              <a:spLocks noChangeArrowheads="1"/>
            </p:cNvSpPr>
            <p:nvPr/>
          </p:nvSpPr>
          <p:spPr bwMode="gray">
            <a:xfrm>
              <a:off x="5264784" y="925824"/>
              <a:ext cx="3168352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lvl="1" indent="1588" eaLnBrk="0" hangingPunct="0">
                <a:spcBef>
                  <a:spcPct val="20000"/>
                </a:spcBef>
                <a:buClr>
                  <a:schemeClr val="tx1"/>
                </a:buClr>
                <a:buSzPct val="80000"/>
              </a:pPr>
              <a:r>
                <a:rPr lang="es-MX" altLang="zh-CN" sz="1600" b="1" dirty="0" smtClean="0">
                  <a:solidFill>
                    <a:schemeClr val="bg1"/>
                  </a:solidFill>
                  <a:ea typeface="SimSun" pitchFamily="2" charset="-122"/>
                  <a:sym typeface="Symbol"/>
                </a:rPr>
                <a:t>Diferenciación</a:t>
              </a:r>
              <a:endParaRPr lang="es-ES" altLang="zh-CN" sz="1600" b="1" dirty="0" smtClean="0">
                <a:solidFill>
                  <a:schemeClr val="bg1"/>
                </a:solidFill>
                <a:ea typeface="SimSun" pitchFamily="2" charset="-122"/>
              </a:endParaRPr>
            </a:p>
          </p:txBody>
        </p:sp>
      </p:grpSp>
      <p:grpSp>
        <p:nvGrpSpPr>
          <p:cNvPr id="29" name="76 Grupo"/>
          <p:cNvGrpSpPr/>
          <p:nvPr/>
        </p:nvGrpSpPr>
        <p:grpSpPr>
          <a:xfrm>
            <a:off x="5076056" y="2339616"/>
            <a:ext cx="3528000" cy="486000"/>
            <a:chOff x="5076056" y="1947896"/>
            <a:chExt cx="3357080" cy="486000"/>
          </a:xfrm>
        </p:grpSpPr>
        <p:sp>
          <p:nvSpPr>
            <p:cNvPr id="30" name="47 Rectángulo redondeado"/>
            <p:cNvSpPr/>
            <p:nvPr/>
          </p:nvSpPr>
          <p:spPr>
            <a:xfrm>
              <a:off x="5076056" y="1947896"/>
              <a:ext cx="3240000" cy="486000"/>
            </a:xfrm>
            <a:prstGeom prst="roundRect">
              <a:avLst/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>
                <a:solidFill>
                  <a:schemeClr val="bg1"/>
                </a:solidFill>
              </a:endParaRPr>
            </a:p>
          </p:txBody>
        </p:sp>
        <p:sp>
          <p:nvSpPr>
            <p:cNvPr id="31" name="Text Box 27"/>
            <p:cNvSpPr txBox="1">
              <a:spLocks noChangeArrowheads="1"/>
            </p:cNvSpPr>
            <p:nvPr/>
          </p:nvSpPr>
          <p:spPr bwMode="gray">
            <a:xfrm>
              <a:off x="5264784" y="2037008"/>
              <a:ext cx="3168352" cy="24622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lvl="1" indent="1588" eaLnBrk="0" hangingPunct="0">
                <a:spcBef>
                  <a:spcPct val="20000"/>
                </a:spcBef>
                <a:buClr>
                  <a:schemeClr val="tx1"/>
                </a:buClr>
                <a:buSzPct val="80000"/>
              </a:pPr>
              <a:r>
                <a:rPr lang="es-MX" altLang="zh-CN" sz="1600" b="1" dirty="0" smtClean="0">
                  <a:solidFill>
                    <a:schemeClr val="bg1"/>
                  </a:solidFill>
                  <a:ea typeface="SimSun" pitchFamily="2" charset="-122"/>
                  <a:sym typeface="Symbol"/>
                </a:rPr>
                <a:t>Procesos</a:t>
              </a:r>
              <a:endParaRPr lang="es-ES" altLang="zh-CN" sz="1600" b="1" dirty="0" smtClean="0">
                <a:solidFill>
                  <a:schemeClr val="bg1"/>
                </a:solidFill>
                <a:ea typeface="SimSun" pitchFamily="2" charset="-122"/>
              </a:endParaRPr>
            </a:p>
          </p:txBody>
        </p:sp>
      </p:grpSp>
      <p:grpSp>
        <p:nvGrpSpPr>
          <p:cNvPr id="32" name="33 Grupo"/>
          <p:cNvGrpSpPr/>
          <p:nvPr/>
        </p:nvGrpSpPr>
        <p:grpSpPr>
          <a:xfrm>
            <a:off x="323528" y="2926984"/>
            <a:ext cx="1656184" cy="1080000"/>
            <a:chOff x="3275856" y="1412776"/>
            <a:chExt cx="1656184" cy="1080000"/>
          </a:xfrm>
        </p:grpSpPr>
        <p:sp>
          <p:nvSpPr>
            <p:cNvPr id="33" name="34 Rectángulo redondeado"/>
            <p:cNvSpPr/>
            <p:nvPr/>
          </p:nvSpPr>
          <p:spPr>
            <a:xfrm>
              <a:off x="3275856" y="1412776"/>
              <a:ext cx="1656184" cy="1080000"/>
            </a:xfrm>
            <a:prstGeom prst="roundRect">
              <a:avLst>
                <a:gd name="adj" fmla="val 10349"/>
              </a:avLst>
            </a:prstGeom>
            <a:solidFill>
              <a:srgbClr val="FA12CE"/>
            </a:solidFill>
            <a:ln>
              <a:solidFill>
                <a:srgbClr val="FA12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/>
            </a:p>
          </p:txBody>
        </p:sp>
        <p:sp>
          <p:nvSpPr>
            <p:cNvPr id="34" name="Rectangle 4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361068" y="1574000"/>
              <a:ext cx="1494176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1600" b="1" kern="0" dirty="0" smtClean="0">
                  <a:latin typeface="+mj-lt"/>
                  <a:ea typeface="+mj-ea"/>
                  <a:cs typeface="Arial" pitchFamily="34" charset="0"/>
                </a:rPr>
                <a:t>La calidad de servicio promueve…</a:t>
              </a:r>
              <a:endParaRPr kumimoji="0" lang="es-MX" sz="1600" b="1" i="0" u="none" strike="noStrike" kern="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</p:grpSp>
      <p:grpSp>
        <p:nvGrpSpPr>
          <p:cNvPr id="35" name="37 Grupo"/>
          <p:cNvGrpSpPr/>
          <p:nvPr/>
        </p:nvGrpSpPr>
        <p:grpSpPr>
          <a:xfrm>
            <a:off x="2411760" y="1666984"/>
            <a:ext cx="2160000" cy="720080"/>
            <a:chOff x="3203848" y="5157192"/>
            <a:chExt cx="2160000" cy="720080"/>
          </a:xfrm>
        </p:grpSpPr>
        <p:sp>
          <p:nvSpPr>
            <p:cNvPr id="36" name="38 Rectángulo redondeado"/>
            <p:cNvSpPr/>
            <p:nvPr/>
          </p:nvSpPr>
          <p:spPr>
            <a:xfrm>
              <a:off x="3203848" y="5157192"/>
              <a:ext cx="2160000" cy="720080"/>
            </a:xfrm>
            <a:prstGeom prst="round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/>
            </a:p>
          </p:txBody>
        </p:sp>
        <p:sp>
          <p:nvSpPr>
            <p:cNvPr id="37" name="Rectangle 4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394378" y="5252766"/>
              <a:ext cx="1745484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1600" b="1" kern="0" dirty="0" smtClean="0">
                  <a:solidFill>
                    <a:schemeClr val="bg1"/>
                  </a:solidFill>
                  <a:latin typeface="+mj-lt"/>
                  <a:ea typeface="+mj-ea"/>
                  <a:cs typeface="Arial" pitchFamily="34" charset="0"/>
                </a:rPr>
                <a:t>La innovación en el mercado</a:t>
              </a:r>
              <a:endParaRPr kumimoji="0" lang="es-MX" sz="16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</p:grpSp>
      <p:grpSp>
        <p:nvGrpSpPr>
          <p:cNvPr id="38" name="40 Grupo"/>
          <p:cNvGrpSpPr/>
          <p:nvPr/>
        </p:nvGrpSpPr>
        <p:grpSpPr>
          <a:xfrm>
            <a:off x="2411760" y="4484484"/>
            <a:ext cx="2160000" cy="720080"/>
            <a:chOff x="3203848" y="5157192"/>
            <a:chExt cx="2160000" cy="720080"/>
          </a:xfrm>
        </p:grpSpPr>
        <p:sp>
          <p:nvSpPr>
            <p:cNvPr id="39" name="41 Rectángulo redondeado"/>
            <p:cNvSpPr/>
            <p:nvPr/>
          </p:nvSpPr>
          <p:spPr>
            <a:xfrm>
              <a:off x="3203848" y="5157192"/>
              <a:ext cx="2160000" cy="720080"/>
            </a:xfrm>
            <a:prstGeom prst="round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/>
            </a:p>
          </p:txBody>
        </p:sp>
        <p:sp>
          <p:nvSpPr>
            <p:cNvPr id="40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493637" y="5263736"/>
              <a:ext cx="1548338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1600" b="1" kern="0" dirty="0" smtClean="0">
                  <a:solidFill>
                    <a:schemeClr val="bg1"/>
                  </a:solidFill>
                  <a:latin typeface="+mj-lt"/>
                  <a:ea typeface="+mj-ea"/>
                  <a:cs typeface="Arial" pitchFamily="34" charset="0"/>
                </a:rPr>
                <a:t>La eficiencia del mercado</a:t>
              </a:r>
              <a:endParaRPr kumimoji="0" lang="es-MX" sz="16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</p:grpSp>
      <p:cxnSp>
        <p:nvCxnSpPr>
          <p:cNvPr id="41" name="78 Conector angular"/>
          <p:cNvCxnSpPr>
            <a:stCxn id="33" idx="0"/>
            <a:endCxn id="36" idx="1"/>
          </p:cNvCxnSpPr>
          <p:nvPr/>
        </p:nvCxnSpPr>
        <p:spPr>
          <a:xfrm rot="5400000" flipH="1" flipV="1">
            <a:off x="1331710" y="1846934"/>
            <a:ext cx="899960" cy="1260140"/>
          </a:xfrm>
          <a:prstGeom prst="bentConnector2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82 Forma"/>
          <p:cNvCxnSpPr>
            <a:stCxn id="33" idx="2"/>
            <a:endCxn id="39" idx="1"/>
          </p:cNvCxnSpPr>
          <p:nvPr/>
        </p:nvCxnSpPr>
        <p:spPr>
          <a:xfrm rot="16200000" flipH="1">
            <a:off x="1362920" y="3795684"/>
            <a:ext cx="837540" cy="1260140"/>
          </a:xfrm>
          <a:prstGeom prst="bentConnector2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88 Conector angular"/>
          <p:cNvCxnSpPr>
            <a:stCxn id="36" idx="3"/>
            <a:endCxn id="27" idx="1"/>
          </p:cNvCxnSpPr>
          <p:nvPr/>
        </p:nvCxnSpPr>
        <p:spPr>
          <a:xfrm flipV="1">
            <a:off x="4571760" y="1471432"/>
            <a:ext cx="504296" cy="555592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92 Conector angular"/>
          <p:cNvCxnSpPr>
            <a:stCxn id="36" idx="3"/>
            <a:endCxn id="30" idx="1"/>
          </p:cNvCxnSpPr>
          <p:nvPr/>
        </p:nvCxnSpPr>
        <p:spPr>
          <a:xfrm>
            <a:off x="4571760" y="2027024"/>
            <a:ext cx="504296" cy="555592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94 Conector angular"/>
          <p:cNvCxnSpPr>
            <a:stCxn id="39" idx="3"/>
            <a:endCxn id="9" idx="1"/>
          </p:cNvCxnSpPr>
          <p:nvPr/>
        </p:nvCxnSpPr>
        <p:spPr>
          <a:xfrm flipV="1">
            <a:off x="4571760" y="3530984"/>
            <a:ext cx="504296" cy="1313540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96 Conector angular"/>
          <p:cNvCxnSpPr>
            <a:stCxn id="39" idx="3"/>
            <a:endCxn id="21" idx="1"/>
          </p:cNvCxnSpPr>
          <p:nvPr/>
        </p:nvCxnSpPr>
        <p:spPr>
          <a:xfrm flipV="1">
            <a:off x="4571760" y="4187496"/>
            <a:ext cx="504296" cy="657028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100 Conector angular"/>
          <p:cNvCxnSpPr>
            <a:stCxn id="39" idx="3"/>
            <a:endCxn id="15" idx="1"/>
          </p:cNvCxnSpPr>
          <p:nvPr/>
        </p:nvCxnSpPr>
        <p:spPr>
          <a:xfrm>
            <a:off x="4571760" y="4844524"/>
            <a:ext cx="504296" cy="655915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02 Conector angular"/>
          <p:cNvCxnSpPr>
            <a:stCxn id="39" idx="3"/>
            <a:endCxn id="18" idx="1"/>
          </p:cNvCxnSpPr>
          <p:nvPr/>
        </p:nvCxnSpPr>
        <p:spPr>
          <a:xfrm>
            <a:off x="4571760" y="4844524"/>
            <a:ext cx="504296" cy="1313540"/>
          </a:xfrm>
          <a:prstGeom prst="bentConnector3">
            <a:avLst>
              <a:gd name="adj1" fmla="val 50000"/>
            </a:avLst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04 Conector recto"/>
          <p:cNvCxnSpPr/>
          <p:nvPr/>
        </p:nvCxnSpPr>
        <p:spPr>
          <a:xfrm>
            <a:off x="4606832" y="4847672"/>
            <a:ext cx="43204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05 Conector recto"/>
          <p:cNvCxnSpPr/>
          <p:nvPr/>
        </p:nvCxnSpPr>
        <p:spPr>
          <a:xfrm>
            <a:off x="4622752" y="2025712"/>
            <a:ext cx="432048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11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2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11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2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11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2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11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2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1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19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bligaciones</a:t>
            </a:r>
            <a:r>
              <a:rPr lang="en-US" dirty="0" smtClean="0"/>
              <a:t> de </a:t>
            </a:r>
            <a:r>
              <a:rPr lang="en-US" dirty="0" err="1" smtClean="0"/>
              <a:t>QoS</a:t>
            </a:r>
            <a:r>
              <a:rPr lang="en-US" dirty="0" smtClean="0"/>
              <a:t> </a:t>
            </a:r>
            <a:r>
              <a:rPr lang="en-US" dirty="0" err="1" smtClean="0"/>
              <a:t>pueden</a:t>
            </a:r>
            <a:r>
              <a:rPr lang="en-US" dirty="0" smtClean="0"/>
              <a:t> </a:t>
            </a:r>
            <a:r>
              <a:rPr lang="en-US" dirty="0" err="1" smtClean="0"/>
              <a:t>resultar</a:t>
            </a:r>
            <a:r>
              <a:rPr lang="en-US" dirty="0" smtClean="0"/>
              <a:t> en un </a:t>
            </a:r>
            <a:r>
              <a:rPr lang="en-US" dirty="0" err="1" smtClean="0"/>
              <a:t>aumento</a:t>
            </a:r>
            <a:r>
              <a:rPr lang="en-US" dirty="0" smtClean="0"/>
              <a:t> de la </a:t>
            </a:r>
            <a:r>
              <a:rPr lang="en-US" dirty="0" err="1" smtClean="0"/>
              <a:t>brecha</a:t>
            </a:r>
            <a:r>
              <a:rPr lang="en-US" dirty="0" smtClean="0"/>
              <a:t> de </a:t>
            </a:r>
            <a:r>
              <a:rPr lang="en-US" dirty="0" err="1" smtClean="0"/>
              <a:t>acceso</a:t>
            </a:r>
            <a:endParaRPr lang="en-US" dirty="0" smtClean="0"/>
          </a:p>
        </p:txBody>
      </p:sp>
      <p:sp>
        <p:nvSpPr>
          <p:cNvPr id="6" name="48 Rectángulo redondeado"/>
          <p:cNvSpPr/>
          <p:nvPr/>
        </p:nvSpPr>
        <p:spPr>
          <a:xfrm>
            <a:off x="539552" y="5919740"/>
            <a:ext cx="7560840" cy="507600"/>
          </a:xfrm>
          <a:prstGeom prst="roundRect">
            <a:avLst/>
          </a:prstGeom>
          <a:solidFill>
            <a:schemeClr val="bg1">
              <a:lumMod val="75000"/>
            </a:schemeClr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cxnSp>
        <p:nvCxnSpPr>
          <p:cNvPr id="7" name="43 Conector recto"/>
          <p:cNvCxnSpPr/>
          <p:nvPr/>
        </p:nvCxnSpPr>
        <p:spPr>
          <a:xfrm>
            <a:off x="2677200" y="1601393"/>
            <a:ext cx="0" cy="4590000"/>
          </a:xfrm>
          <a:prstGeom prst="line">
            <a:avLst/>
          </a:prstGeom>
          <a:ln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1 Gráfico"/>
          <p:cNvGraphicFramePr/>
          <p:nvPr>
            <p:extLst>
              <p:ext uri="{D42A27DB-BD31-4B8C-83A1-F6EECF244321}">
                <p14:modId xmlns:p14="http://schemas.microsoft.com/office/powerpoint/2010/main" val="3105667936"/>
              </p:ext>
            </p:extLst>
          </p:nvPr>
        </p:nvGraphicFramePr>
        <p:xfrm>
          <a:off x="1404352" y="1476220"/>
          <a:ext cx="6336000" cy="3289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545546" y="1068054"/>
            <a:ext cx="230425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600" b="1" kern="0" dirty="0" smtClean="0">
                <a:latin typeface="+mj-lt"/>
                <a:ea typeface="+mj-ea"/>
                <a:cs typeface="Arial" pitchFamily="34" charset="0"/>
              </a:rPr>
              <a:t>Capacidad de pago ($)</a:t>
            </a:r>
            <a:endParaRPr kumimoji="0" lang="es-MX" sz="16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0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301024" y="4635310"/>
            <a:ext cx="230425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Demanda (usuarios)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cxnSp>
        <p:nvCxnSpPr>
          <p:cNvPr id="11" name="23 Conector recto"/>
          <p:cNvCxnSpPr/>
          <p:nvPr/>
        </p:nvCxnSpPr>
        <p:spPr>
          <a:xfrm>
            <a:off x="1547664" y="3475968"/>
            <a:ext cx="113400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25 Conector recto"/>
          <p:cNvCxnSpPr/>
          <p:nvPr/>
        </p:nvCxnSpPr>
        <p:spPr>
          <a:xfrm>
            <a:off x="2681664" y="3432745"/>
            <a:ext cx="0" cy="129600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27 Conector recto"/>
          <p:cNvCxnSpPr/>
          <p:nvPr/>
        </p:nvCxnSpPr>
        <p:spPr>
          <a:xfrm>
            <a:off x="1547664" y="3711434"/>
            <a:ext cx="2286000" cy="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28 Conector recto"/>
          <p:cNvCxnSpPr/>
          <p:nvPr/>
        </p:nvCxnSpPr>
        <p:spPr>
          <a:xfrm>
            <a:off x="3811444" y="3588602"/>
            <a:ext cx="0" cy="1044000"/>
          </a:xfrm>
          <a:prstGeom prst="line">
            <a:avLst/>
          </a:prstGeom>
          <a:ln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9653" y="3592692"/>
            <a:ext cx="141689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Costo sin </a:t>
            </a:r>
            <a:r>
              <a:rPr lang="es-MX" sz="1400" b="1" kern="0" dirty="0" err="1" smtClean="0">
                <a:latin typeface="+mj-lt"/>
                <a:ea typeface="+mj-ea"/>
                <a:cs typeface="Arial" pitchFamily="34" charset="0"/>
              </a:rPr>
              <a:t>QoS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-48360" y="3345905"/>
            <a:ext cx="154491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Costo con </a:t>
            </a:r>
            <a:r>
              <a:rPr lang="es-MX" sz="1400" b="1" kern="0" dirty="0" err="1" smtClean="0">
                <a:latin typeface="+mj-lt"/>
                <a:ea typeface="+mj-ea"/>
                <a:cs typeface="Arial" pitchFamily="34" charset="0"/>
              </a:rPr>
              <a:t>QoS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7" name="38 Flecha izquierda y derecha"/>
          <p:cNvSpPr/>
          <p:nvPr/>
        </p:nvSpPr>
        <p:spPr>
          <a:xfrm>
            <a:off x="3811444" y="5126040"/>
            <a:ext cx="3600000" cy="288032"/>
          </a:xfrm>
          <a:prstGeom prst="leftRightArrow">
            <a:avLst/>
          </a:prstGeom>
          <a:solidFill>
            <a:srgbClr val="FA12CE"/>
          </a:solidFill>
          <a:ln>
            <a:solidFill>
              <a:srgbClr val="FA12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sp>
        <p:nvSpPr>
          <p:cNvPr id="18" name="39 Flecha izquierda y derecha"/>
          <p:cNvSpPr/>
          <p:nvPr/>
        </p:nvSpPr>
        <p:spPr>
          <a:xfrm>
            <a:off x="2699792" y="5508668"/>
            <a:ext cx="4726800" cy="288032"/>
          </a:xfrm>
          <a:prstGeom prst="leftRightArrow">
            <a:avLst/>
          </a:prstGeom>
          <a:solidFill>
            <a:srgbClr val="FA12CE"/>
          </a:solidFill>
          <a:ln>
            <a:solidFill>
              <a:srgbClr val="FA12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sp>
        <p:nvSpPr>
          <p:cNvPr id="19" name="Rectangle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115616" y="5124749"/>
            <a:ext cx="2592288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Brecha de acceso sin </a:t>
            </a:r>
            <a:r>
              <a:rPr lang="es-MX" sz="1400" b="1" kern="0" dirty="0" err="1" smtClean="0">
                <a:latin typeface="+mj-lt"/>
                <a:ea typeface="+mj-ea"/>
                <a:cs typeface="Arial" pitchFamily="34" charset="0"/>
              </a:rPr>
              <a:t>QoS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0" name="Rectangle 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-355030" y="5537910"/>
            <a:ext cx="300669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Brecha de acceso con </a:t>
            </a:r>
            <a:r>
              <a:rPr lang="es-MX" sz="1400" b="1" kern="0" dirty="0" err="1" smtClean="0">
                <a:latin typeface="+mj-lt"/>
                <a:ea typeface="+mj-ea"/>
                <a:cs typeface="Arial" pitchFamily="34" charset="0"/>
              </a:rPr>
              <a:t>QoS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cxnSp>
        <p:nvCxnSpPr>
          <p:cNvPr id="21" name="44 Conector recto"/>
          <p:cNvCxnSpPr/>
          <p:nvPr/>
        </p:nvCxnSpPr>
        <p:spPr>
          <a:xfrm>
            <a:off x="3806740" y="1601393"/>
            <a:ext cx="0" cy="4590000"/>
          </a:xfrm>
          <a:prstGeom prst="line">
            <a:avLst/>
          </a:prstGeom>
          <a:ln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45 Flecha izquierda y derecha"/>
          <p:cNvSpPr/>
          <p:nvPr/>
        </p:nvSpPr>
        <p:spPr>
          <a:xfrm>
            <a:off x="2699792" y="6042921"/>
            <a:ext cx="1116000" cy="288032"/>
          </a:xfrm>
          <a:prstGeom prst="left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sp>
        <p:nvSpPr>
          <p:cNvPr id="23" name="Rectangle 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35784" y="5940716"/>
            <a:ext cx="201999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Aumento de la brecha de acceso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cxnSp>
        <p:nvCxnSpPr>
          <p:cNvPr id="24" name="49 Conector recto"/>
          <p:cNvCxnSpPr/>
          <p:nvPr/>
        </p:nvCxnSpPr>
        <p:spPr>
          <a:xfrm>
            <a:off x="1573936" y="3473846"/>
            <a:ext cx="6480000" cy="0"/>
          </a:xfrm>
          <a:prstGeom prst="line">
            <a:avLst/>
          </a:prstGeom>
          <a:ln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50 Conector recto"/>
          <p:cNvCxnSpPr/>
          <p:nvPr/>
        </p:nvCxnSpPr>
        <p:spPr>
          <a:xfrm>
            <a:off x="1573936" y="3709312"/>
            <a:ext cx="6480000" cy="0"/>
          </a:xfrm>
          <a:prstGeom prst="line">
            <a:avLst/>
          </a:prstGeom>
          <a:ln>
            <a:solidFill>
              <a:srgbClr val="0070C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51 Flecha izquierda y derecha"/>
          <p:cNvSpPr/>
          <p:nvPr/>
        </p:nvSpPr>
        <p:spPr>
          <a:xfrm rot="5400000">
            <a:off x="7830384" y="3534251"/>
            <a:ext cx="288000" cy="108000"/>
          </a:xfrm>
          <a:prstGeom prst="leftRight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sp>
        <p:nvSpPr>
          <p:cNvPr id="27" name="Rectangle 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136168" y="3281157"/>
            <a:ext cx="104462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Aumento en el costo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721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omencemos</a:t>
            </a:r>
            <a:r>
              <a:rPr lang="en-US" dirty="0" smtClean="0"/>
              <a:t> con </a:t>
            </a:r>
            <a:r>
              <a:rPr lang="en-US" dirty="0" err="1" smtClean="0"/>
              <a:t>una</a:t>
            </a:r>
            <a:r>
              <a:rPr lang="en-US" dirty="0" smtClean="0"/>
              <a:t> </a:t>
            </a:r>
            <a:r>
              <a:rPr lang="en-US" dirty="0" err="1" smtClean="0"/>
              <a:t>gráfica</a:t>
            </a:r>
            <a:r>
              <a:rPr lang="en-US" dirty="0" smtClean="0"/>
              <a:t> </a:t>
            </a:r>
            <a:r>
              <a:rPr lang="en-US" dirty="0" err="1" smtClean="0"/>
              <a:t>sencilla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468025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2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 </a:t>
            </a:r>
            <a:r>
              <a:rPr lang="en-US" dirty="0" err="1" smtClean="0"/>
              <a:t>aquí</a:t>
            </a:r>
            <a:r>
              <a:rPr lang="en-US" dirty="0" smtClean="0"/>
              <a:t> se </a:t>
            </a:r>
            <a:r>
              <a:rPr lang="en-US" dirty="0" err="1" smtClean="0"/>
              <a:t>derivan</a:t>
            </a:r>
            <a:r>
              <a:rPr lang="en-US" dirty="0" smtClean="0"/>
              <a:t> </a:t>
            </a:r>
            <a:r>
              <a:rPr lang="en-US" dirty="0" err="1" smtClean="0"/>
              <a:t>varios</a:t>
            </a:r>
            <a:r>
              <a:rPr lang="en-US" dirty="0" smtClean="0"/>
              <a:t> </a:t>
            </a:r>
            <a:r>
              <a:rPr lang="en-US" dirty="0" err="1" smtClean="0"/>
              <a:t>efectos</a:t>
            </a:r>
            <a:r>
              <a:rPr lang="en-US" dirty="0" smtClean="0"/>
              <a:t>…</a:t>
            </a:r>
          </a:p>
        </p:txBody>
      </p:sp>
      <p:sp>
        <p:nvSpPr>
          <p:cNvPr id="7" name="61 Rectángulo redondeado"/>
          <p:cNvSpPr/>
          <p:nvPr/>
        </p:nvSpPr>
        <p:spPr>
          <a:xfrm>
            <a:off x="2422455" y="1580217"/>
            <a:ext cx="6398017" cy="3635232"/>
          </a:xfrm>
          <a:prstGeom prst="roundRect">
            <a:avLst>
              <a:gd name="adj" fmla="val 312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sp>
        <p:nvSpPr>
          <p:cNvPr id="8" name="Text Box 27"/>
          <p:cNvSpPr txBox="1">
            <a:spLocks noChangeArrowheads="1"/>
          </p:cNvSpPr>
          <p:nvPr/>
        </p:nvSpPr>
        <p:spPr bwMode="gray">
          <a:xfrm>
            <a:off x="3584344" y="1932604"/>
            <a:ext cx="4479201" cy="288078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87325" lvl="1" indent="-185738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n"/>
            </a:pPr>
            <a:r>
              <a:rPr lang="es-MX" sz="2600" dirty="0" smtClean="0">
                <a:sym typeface="Symbol"/>
              </a:rPr>
              <a:t>Disminuye la competencia al limitar una de las principales variables utilizadas para competir</a:t>
            </a:r>
          </a:p>
          <a:p>
            <a:pPr marL="187325" lvl="1" indent="-185738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n"/>
            </a:pPr>
            <a:r>
              <a:rPr lang="es-MX" sz="2600" dirty="0" smtClean="0">
                <a:sym typeface="Symbol"/>
              </a:rPr>
              <a:t>Puede inhibir el sano desarrollo del mercado</a:t>
            </a:r>
          </a:p>
        </p:txBody>
      </p:sp>
      <p:grpSp>
        <p:nvGrpSpPr>
          <p:cNvPr id="9" name="59 Grupo"/>
          <p:cNvGrpSpPr/>
          <p:nvPr/>
        </p:nvGrpSpPr>
        <p:grpSpPr>
          <a:xfrm>
            <a:off x="265168" y="1719523"/>
            <a:ext cx="2362616" cy="3383128"/>
            <a:chOff x="265168" y="1052736"/>
            <a:chExt cx="1944216" cy="3383128"/>
          </a:xfrm>
        </p:grpSpPr>
        <p:sp>
          <p:nvSpPr>
            <p:cNvPr id="10" name="58 Pentágono"/>
            <p:cNvSpPr/>
            <p:nvPr/>
          </p:nvSpPr>
          <p:spPr>
            <a:xfrm>
              <a:off x="265168" y="1052736"/>
              <a:ext cx="1944216" cy="3383128"/>
            </a:xfrm>
            <a:prstGeom prst="homePlate">
              <a:avLst>
                <a:gd name="adj" fmla="val 21805"/>
              </a:avLst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/>
            </a:p>
          </p:txBody>
        </p:sp>
        <p:sp>
          <p:nvSpPr>
            <p:cNvPr id="11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60704" y="1805265"/>
              <a:ext cx="1584176" cy="18466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2400" b="1" kern="0" dirty="0" smtClean="0">
                  <a:solidFill>
                    <a:schemeClr val="bg1"/>
                  </a:solidFill>
                  <a:latin typeface="+mj-lt"/>
                  <a:ea typeface="+mj-ea"/>
                  <a:cs typeface="Arial" pitchFamily="34" charset="0"/>
                </a:rPr>
                <a:t>La regulación de la calidad de servicio…</a:t>
              </a:r>
              <a:endParaRPr kumimoji="0" lang="es-MX" sz="24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</p:grpSp>
      <p:sp>
        <p:nvSpPr>
          <p:cNvPr id="12" name="66 Flecha abajo"/>
          <p:cNvSpPr/>
          <p:nvPr/>
        </p:nvSpPr>
        <p:spPr>
          <a:xfrm>
            <a:off x="3226458" y="2032024"/>
            <a:ext cx="324000" cy="396000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3" name="67 Flecha abajo"/>
          <p:cNvSpPr/>
          <p:nvPr/>
        </p:nvSpPr>
        <p:spPr>
          <a:xfrm>
            <a:off x="3226458" y="4157729"/>
            <a:ext cx="324000" cy="396000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Rectángulo 1"/>
          <p:cNvSpPr/>
          <p:nvPr/>
        </p:nvSpPr>
        <p:spPr bwMode="auto">
          <a:xfrm>
            <a:off x="3566446" y="2038949"/>
            <a:ext cx="212256" cy="34179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5" name="Rectángulo 14"/>
          <p:cNvSpPr/>
          <p:nvPr/>
        </p:nvSpPr>
        <p:spPr bwMode="auto">
          <a:xfrm>
            <a:off x="3562678" y="4137650"/>
            <a:ext cx="216024" cy="1864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9855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21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</a:t>
            </a:r>
            <a:r>
              <a:rPr lang="en-US" dirty="0" err="1" smtClean="0"/>
              <a:t>que</a:t>
            </a:r>
            <a:r>
              <a:rPr lang="en-US" dirty="0" smtClean="0"/>
              <a:t> se </a:t>
            </a:r>
            <a:r>
              <a:rPr lang="en-US" dirty="0" err="1" smtClean="0"/>
              <a:t>exacerban</a:t>
            </a:r>
            <a:r>
              <a:rPr lang="en-US" dirty="0" smtClean="0"/>
              <a:t> </a:t>
            </a:r>
            <a:r>
              <a:rPr lang="en-US" dirty="0" err="1" smtClean="0"/>
              <a:t>si</a:t>
            </a:r>
            <a:r>
              <a:rPr lang="en-US" dirty="0" smtClean="0"/>
              <a:t> la </a:t>
            </a:r>
            <a:r>
              <a:rPr lang="en-US" dirty="0" err="1" smtClean="0"/>
              <a:t>regulación</a:t>
            </a:r>
            <a:r>
              <a:rPr lang="en-US" dirty="0" smtClean="0"/>
              <a:t> de la </a:t>
            </a:r>
            <a:r>
              <a:rPr lang="en-US" dirty="0" err="1" smtClean="0"/>
              <a:t>QoS</a:t>
            </a:r>
            <a:r>
              <a:rPr lang="en-US" dirty="0" smtClean="0"/>
              <a:t> no </a:t>
            </a:r>
            <a:r>
              <a:rPr lang="en-US" dirty="0" err="1" smtClean="0"/>
              <a:t>es</a:t>
            </a:r>
            <a:r>
              <a:rPr lang="en-US" dirty="0" smtClean="0"/>
              <a:t> </a:t>
            </a:r>
            <a:r>
              <a:rPr lang="en-US" dirty="0" err="1" smtClean="0"/>
              <a:t>buena</a:t>
            </a:r>
            <a:endParaRPr lang="en-US" dirty="0" smtClean="0"/>
          </a:p>
        </p:txBody>
      </p:sp>
      <p:sp>
        <p:nvSpPr>
          <p:cNvPr id="7" name="Text Box 27"/>
          <p:cNvSpPr txBox="1">
            <a:spLocks noChangeArrowheads="1"/>
          </p:cNvSpPr>
          <p:nvPr/>
        </p:nvSpPr>
        <p:spPr bwMode="gray">
          <a:xfrm>
            <a:off x="2826643" y="1471136"/>
            <a:ext cx="6301621" cy="44012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87325" lvl="1" indent="-185738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n"/>
            </a:pPr>
            <a:r>
              <a:rPr lang="es-MX" sz="2600" dirty="0" smtClean="0">
                <a:sym typeface="Symbol"/>
              </a:rPr>
              <a:t>Elimina </a:t>
            </a:r>
            <a:r>
              <a:rPr lang="es-MX" sz="2600" dirty="0">
                <a:sym typeface="Symbol"/>
              </a:rPr>
              <a:t>incentivos a la diferenciación</a:t>
            </a:r>
          </a:p>
          <a:p>
            <a:pPr marL="187325" lvl="1" indent="-185738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n"/>
            </a:pPr>
            <a:r>
              <a:rPr lang="es-MX" sz="2600" dirty="0" smtClean="0">
                <a:sym typeface="Symbol"/>
              </a:rPr>
              <a:t>Desincentiva la innovación</a:t>
            </a:r>
          </a:p>
          <a:p>
            <a:pPr marL="187325" lvl="1" indent="-185738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n"/>
            </a:pPr>
            <a:r>
              <a:rPr lang="es-MX" sz="2600" dirty="0" smtClean="0">
                <a:sym typeface="Symbol"/>
              </a:rPr>
              <a:t>Genera ineficiencias</a:t>
            </a:r>
          </a:p>
          <a:p>
            <a:pPr marL="187325" lvl="1" indent="-185738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n"/>
            </a:pPr>
            <a:r>
              <a:rPr lang="es-MX" sz="2600" dirty="0" smtClean="0">
                <a:sym typeface="Symbol"/>
              </a:rPr>
              <a:t>Puede promover inversiones innecesarias</a:t>
            </a:r>
          </a:p>
          <a:p>
            <a:pPr marL="187325" lvl="1" indent="-185738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n"/>
            </a:pPr>
            <a:r>
              <a:rPr lang="es-MX" sz="2600" dirty="0" smtClean="0">
                <a:sym typeface="Symbol"/>
              </a:rPr>
              <a:t>Aumenta los costos y por lo tanto los precios</a:t>
            </a:r>
          </a:p>
          <a:p>
            <a:pPr marL="187325" lvl="1" indent="-185738" eaLnBrk="0" hangingPunct="0">
              <a:spcBef>
                <a:spcPct val="20000"/>
              </a:spcBef>
              <a:buClr>
                <a:schemeClr val="tx1"/>
              </a:buClr>
              <a:buSzPct val="80000"/>
              <a:buFont typeface="Wingdings" pitchFamily="2" charset="2"/>
              <a:buChar char="n"/>
            </a:pPr>
            <a:r>
              <a:rPr lang="es-MX" sz="2600" dirty="0" smtClean="0">
                <a:sym typeface="Symbol"/>
              </a:rPr>
              <a:t>Disminuye el tamaño del mercado (mayor precio  menor demanda)</a:t>
            </a:r>
          </a:p>
        </p:txBody>
      </p:sp>
      <p:grpSp>
        <p:nvGrpSpPr>
          <p:cNvPr id="21" name="59 Grupo"/>
          <p:cNvGrpSpPr/>
          <p:nvPr/>
        </p:nvGrpSpPr>
        <p:grpSpPr>
          <a:xfrm>
            <a:off x="183280" y="1734037"/>
            <a:ext cx="2362616" cy="3383128"/>
            <a:chOff x="265168" y="1052736"/>
            <a:chExt cx="1944216" cy="3383128"/>
          </a:xfrm>
        </p:grpSpPr>
        <p:sp>
          <p:nvSpPr>
            <p:cNvPr id="22" name="58 Pentágono"/>
            <p:cNvSpPr/>
            <p:nvPr/>
          </p:nvSpPr>
          <p:spPr>
            <a:xfrm>
              <a:off x="265168" y="1052736"/>
              <a:ext cx="1944216" cy="3383128"/>
            </a:xfrm>
            <a:prstGeom prst="homePlate">
              <a:avLst>
                <a:gd name="adj" fmla="val 21805"/>
              </a:avLst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/>
            </a:p>
          </p:txBody>
        </p:sp>
        <p:sp>
          <p:nvSpPr>
            <p:cNvPr id="23" name="Rectangle 4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60704" y="1834293"/>
              <a:ext cx="1584176" cy="18466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2400" b="1" kern="0" dirty="0" smtClean="0">
                  <a:solidFill>
                    <a:schemeClr val="bg1"/>
                  </a:solidFill>
                  <a:latin typeface="+mj-lt"/>
                  <a:ea typeface="+mj-ea"/>
                  <a:cs typeface="Arial" pitchFamily="34" charset="0"/>
                </a:rPr>
                <a:t>Una mala regulación de la calidad de servicio</a:t>
              </a:r>
              <a:endParaRPr kumimoji="0" lang="es-MX" sz="24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</p:grpSp>
      <p:sp>
        <p:nvSpPr>
          <p:cNvPr id="24" name="61 Rectángulo redondeado"/>
          <p:cNvSpPr/>
          <p:nvPr/>
        </p:nvSpPr>
        <p:spPr>
          <a:xfrm>
            <a:off x="2422455" y="1379670"/>
            <a:ext cx="6398017" cy="4551205"/>
          </a:xfrm>
          <a:prstGeom prst="roundRect">
            <a:avLst>
              <a:gd name="adj" fmla="val 3129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sp>
        <p:nvSpPr>
          <p:cNvPr id="26" name="Rectángulo 25"/>
          <p:cNvSpPr/>
          <p:nvPr/>
        </p:nvSpPr>
        <p:spPr bwMode="auto">
          <a:xfrm>
            <a:off x="2833636" y="1601585"/>
            <a:ext cx="216024" cy="1864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0" name="Rectángulo 29"/>
          <p:cNvSpPr/>
          <p:nvPr/>
        </p:nvSpPr>
        <p:spPr bwMode="auto">
          <a:xfrm>
            <a:off x="2833636" y="2474433"/>
            <a:ext cx="216024" cy="1864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3" name="Rectángulo 32"/>
          <p:cNvSpPr/>
          <p:nvPr/>
        </p:nvSpPr>
        <p:spPr bwMode="auto">
          <a:xfrm>
            <a:off x="2833636" y="2951193"/>
            <a:ext cx="216024" cy="1864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6" name="Rectángulo 35"/>
          <p:cNvSpPr/>
          <p:nvPr/>
        </p:nvSpPr>
        <p:spPr bwMode="auto">
          <a:xfrm>
            <a:off x="2833636" y="3437833"/>
            <a:ext cx="216024" cy="1864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9" name="Rectángulo 38"/>
          <p:cNvSpPr/>
          <p:nvPr/>
        </p:nvSpPr>
        <p:spPr bwMode="auto">
          <a:xfrm>
            <a:off x="2820757" y="4301929"/>
            <a:ext cx="216024" cy="1864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42" name="Rectángulo 41"/>
          <p:cNvSpPr/>
          <p:nvPr/>
        </p:nvSpPr>
        <p:spPr bwMode="auto">
          <a:xfrm>
            <a:off x="2833636" y="5162257"/>
            <a:ext cx="216024" cy="18640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5" name="66 Flecha abajo"/>
          <p:cNvSpPr/>
          <p:nvPr/>
        </p:nvSpPr>
        <p:spPr>
          <a:xfrm>
            <a:off x="2548240" y="1529496"/>
            <a:ext cx="324000" cy="396000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9" name="66 Flecha abajo"/>
          <p:cNvSpPr/>
          <p:nvPr/>
        </p:nvSpPr>
        <p:spPr>
          <a:xfrm>
            <a:off x="2548240" y="2402344"/>
            <a:ext cx="324000" cy="396000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2" name="66 Flecha abajo"/>
          <p:cNvSpPr/>
          <p:nvPr/>
        </p:nvSpPr>
        <p:spPr>
          <a:xfrm>
            <a:off x="2548240" y="2906400"/>
            <a:ext cx="324000" cy="396000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5" name="66 Flecha abajo"/>
          <p:cNvSpPr/>
          <p:nvPr/>
        </p:nvSpPr>
        <p:spPr>
          <a:xfrm>
            <a:off x="2548240" y="3393040"/>
            <a:ext cx="324000" cy="396000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8" name="66 Flecha abajo"/>
          <p:cNvSpPr/>
          <p:nvPr/>
        </p:nvSpPr>
        <p:spPr>
          <a:xfrm>
            <a:off x="2548240" y="4257136"/>
            <a:ext cx="324000" cy="396000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1" name="66 Flecha abajo"/>
          <p:cNvSpPr/>
          <p:nvPr/>
        </p:nvSpPr>
        <p:spPr>
          <a:xfrm>
            <a:off x="2548240" y="5117464"/>
            <a:ext cx="324000" cy="396000"/>
          </a:xfrm>
          <a:prstGeom prst="down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81138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2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¿</a:t>
            </a:r>
            <a:r>
              <a:rPr lang="en-US" dirty="0" err="1" smtClean="0"/>
              <a:t>Cuándo</a:t>
            </a:r>
            <a:r>
              <a:rPr lang="en-US" dirty="0" smtClean="0"/>
              <a:t> </a:t>
            </a:r>
            <a:r>
              <a:rPr lang="en-US" dirty="0" err="1" smtClean="0"/>
              <a:t>entonces</a:t>
            </a:r>
            <a:r>
              <a:rPr lang="en-US" dirty="0" smtClean="0"/>
              <a:t> </a:t>
            </a:r>
            <a:r>
              <a:rPr lang="en-US" dirty="0" err="1" smtClean="0"/>
              <a:t>deben</a:t>
            </a:r>
            <a:r>
              <a:rPr lang="en-US" dirty="0" smtClean="0"/>
              <a:t> </a:t>
            </a:r>
            <a:r>
              <a:rPr lang="en-US" dirty="0" err="1" smtClean="0"/>
              <a:t>exigirse</a:t>
            </a:r>
            <a:r>
              <a:rPr lang="en-US" dirty="0" smtClean="0"/>
              <a:t> </a:t>
            </a:r>
            <a:r>
              <a:rPr lang="en-US" dirty="0" err="1" smtClean="0"/>
              <a:t>obligaciones</a:t>
            </a:r>
            <a:r>
              <a:rPr lang="en-US" dirty="0" smtClean="0"/>
              <a:t> de </a:t>
            </a:r>
            <a:r>
              <a:rPr lang="en-US" dirty="0" err="1" smtClean="0"/>
              <a:t>QoS</a:t>
            </a:r>
            <a:r>
              <a:rPr lang="en-US" dirty="0" smtClean="0"/>
              <a:t>?</a:t>
            </a:r>
          </a:p>
        </p:txBody>
      </p:sp>
      <p:sp>
        <p:nvSpPr>
          <p:cNvPr id="7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907704" y="1988840"/>
            <a:ext cx="5256584" cy="3016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2800" kern="0" dirty="0" smtClean="0">
                <a:latin typeface="+mj-lt"/>
                <a:ea typeface="+mj-ea"/>
                <a:cs typeface="Arial" pitchFamily="34" charset="0"/>
              </a:rPr>
              <a:t>Dados los efectos mencionados anteriormente, la regulación de la calidad del servicio debería ser una </a:t>
            </a:r>
            <a:r>
              <a:rPr lang="es-MX" sz="2800" b="1" kern="0" dirty="0" smtClean="0">
                <a:latin typeface="+mj-lt"/>
                <a:ea typeface="+mj-ea"/>
                <a:cs typeface="Arial" pitchFamily="34" charset="0"/>
              </a:rPr>
              <a:t>palanca regulatoria de último recurso </a:t>
            </a:r>
          </a:p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2800" kern="0" dirty="0" smtClean="0">
                <a:latin typeface="+mj-lt"/>
                <a:ea typeface="+mj-ea"/>
                <a:cs typeface="Arial" pitchFamily="34" charset="0"/>
              </a:rPr>
              <a:t>(“</a:t>
            </a:r>
            <a:r>
              <a:rPr lang="es-MX" sz="2800" kern="0" dirty="0" err="1" smtClean="0">
                <a:latin typeface="+mj-lt"/>
                <a:ea typeface="+mj-ea"/>
                <a:cs typeface="Arial" pitchFamily="34" charset="0"/>
              </a:rPr>
              <a:t>if</a:t>
            </a:r>
            <a:r>
              <a:rPr lang="es-MX" sz="2800" kern="0" dirty="0" smtClean="0">
                <a:latin typeface="+mj-lt"/>
                <a:ea typeface="+mj-ea"/>
                <a:cs typeface="Arial" pitchFamily="34" charset="0"/>
              </a:rPr>
              <a:t> </a:t>
            </a:r>
            <a:r>
              <a:rPr lang="es-MX" sz="2800" kern="0" dirty="0" err="1" smtClean="0">
                <a:latin typeface="+mj-lt"/>
                <a:ea typeface="+mj-ea"/>
                <a:cs typeface="Arial" pitchFamily="34" charset="0"/>
              </a:rPr>
              <a:t>all</a:t>
            </a:r>
            <a:r>
              <a:rPr lang="es-MX" sz="2800" kern="0" dirty="0" smtClean="0">
                <a:latin typeface="+mj-lt"/>
                <a:ea typeface="+mj-ea"/>
                <a:cs typeface="Arial" pitchFamily="34" charset="0"/>
              </a:rPr>
              <a:t> </a:t>
            </a:r>
            <a:r>
              <a:rPr lang="es-MX" sz="2800" kern="0" dirty="0" err="1" smtClean="0">
                <a:latin typeface="+mj-lt"/>
                <a:ea typeface="+mj-ea"/>
                <a:cs typeface="Arial" pitchFamily="34" charset="0"/>
              </a:rPr>
              <a:t>else</a:t>
            </a:r>
            <a:r>
              <a:rPr lang="es-MX" sz="2800" kern="0" dirty="0" smtClean="0">
                <a:latin typeface="+mj-lt"/>
                <a:ea typeface="+mj-ea"/>
                <a:cs typeface="Arial" pitchFamily="34" charset="0"/>
              </a:rPr>
              <a:t> </a:t>
            </a:r>
            <a:r>
              <a:rPr lang="es-MX" sz="2800" kern="0" dirty="0" err="1" smtClean="0">
                <a:latin typeface="+mj-lt"/>
                <a:ea typeface="+mj-ea"/>
                <a:cs typeface="Arial" pitchFamily="34" charset="0"/>
              </a:rPr>
              <a:t>fails</a:t>
            </a:r>
            <a:r>
              <a:rPr lang="es-MX" sz="2800" kern="0" dirty="0" smtClean="0">
                <a:latin typeface="+mj-lt"/>
                <a:ea typeface="+mj-ea"/>
                <a:cs typeface="Arial" pitchFamily="34" charset="0"/>
              </a:rPr>
              <a:t>…”)</a:t>
            </a:r>
            <a:endParaRPr kumimoji="0" lang="es-MX" sz="2800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1038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5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6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5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5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6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5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23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or</a:t>
            </a:r>
            <a:r>
              <a:rPr lang="en-US" dirty="0" smtClean="0"/>
              <a:t> lo </a:t>
            </a:r>
            <a:r>
              <a:rPr lang="en-US" dirty="0" err="1" smtClean="0"/>
              <a:t>tanto</a:t>
            </a:r>
            <a:r>
              <a:rPr lang="en-US" dirty="0" smtClean="0"/>
              <a:t>, hasta </a:t>
            </a:r>
            <a:r>
              <a:rPr lang="en-US" dirty="0" err="1" smtClean="0"/>
              <a:t>dónde</a:t>
            </a:r>
            <a:r>
              <a:rPr lang="en-US" dirty="0" smtClean="0"/>
              <a:t> regular la </a:t>
            </a:r>
            <a:r>
              <a:rPr lang="en-US" dirty="0" err="1" smtClean="0"/>
              <a:t>calidad</a:t>
            </a:r>
            <a:r>
              <a:rPr lang="en-US" dirty="0" smtClean="0"/>
              <a:t> de </a:t>
            </a:r>
            <a:r>
              <a:rPr lang="en-US" dirty="0" err="1" smtClean="0"/>
              <a:t>servicio</a:t>
            </a:r>
            <a:r>
              <a:rPr lang="en-US" dirty="0" smtClean="0"/>
              <a:t> genera un </a:t>
            </a:r>
            <a:r>
              <a:rPr lang="en-US" dirty="0" err="1" smtClean="0"/>
              <a:t>dilema</a:t>
            </a:r>
            <a:endParaRPr lang="en-US" dirty="0" smtClean="0"/>
          </a:p>
        </p:txBody>
      </p:sp>
      <p:grpSp>
        <p:nvGrpSpPr>
          <p:cNvPr id="6" name="42 Grupo"/>
          <p:cNvGrpSpPr/>
          <p:nvPr/>
        </p:nvGrpSpPr>
        <p:grpSpPr>
          <a:xfrm>
            <a:off x="1591768" y="1345454"/>
            <a:ext cx="3698328" cy="4967024"/>
            <a:chOff x="1907704" y="945896"/>
            <a:chExt cx="3698328" cy="4731818"/>
          </a:xfrm>
        </p:grpSpPr>
        <p:grpSp>
          <p:nvGrpSpPr>
            <p:cNvPr id="7" name="34 Grupo"/>
            <p:cNvGrpSpPr/>
            <p:nvPr/>
          </p:nvGrpSpPr>
          <p:grpSpPr>
            <a:xfrm>
              <a:off x="1907704" y="945896"/>
              <a:ext cx="3690000" cy="2160000"/>
              <a:chOff x="1941436" y="945896"/>
              <a:chExt cx="3690000" cy="2160000"/>
            </a:xfrm>
          </p:grpSpPr>
          <p:sp>
            <p:nvSpPr>
              <p:cNvPr id="11" name="Text Box 27"/>
              <p:cNvSpPr txBox="1">
                <a:spLocks noChangeArrowheads="1"/>
              </p:cNvSpPr>
              <p:nvPr/>
            </p:nvSpPr>
            <p:spPr bwMode="gray">
              <a:xfrm>
                <a:off x="2350378" y="1078593"/>
                <a:ext cx="3240000" cy="189995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marL="342900" lvl="1" indent="-342900">
                  <a:spcBef>
                    <a:spcPct val="20000"/>
                  </a:spcBef>
                  <a:buClr>
                    <a:schemeClr val="tx1"/>
                  </a:buClr>
                  <a:buSzPct val="75000"/>
                  <a:buBlip>
                    <a:blip r:embed="rId5"/>
                  </a:buBlip>
                </a:pPr>
                <a:r>
                  <a:rPr lang="es-MX" sz="1800" kern="0" dirty="0">
                    <a:solidFill>
                      <a:schemeClr val="bg2"/>
                    </a:solidFill>
                    <a:latin typeface="+mn-lt"/>
                    <a:sym typeface="Symbol"/>
                  </a:rPr>
                  <a:t>Los reguladores tienen información imperfecta sobre las empresas </a:t>
                </a:r>
              </a:p>
              <a:p>
                <a:pPr marL="342900" lvl="1" indent="-342900">
                  <a:spcBef>
                    <a:spcPct val="20000"/>
                  </a:spcBef>
                  <a:buClr>
                    <a:schemeClr val="tx1"/>
                  </a:buClr>
                  <a:buSzPct val="75000"/>
                  <a:buBlip>
                    <a:blip r:embed="rId5"/>
                  </a:buBlip>
                </a:pPr>
                <a:r>
                  <a:rPr lang="es-MX" sz="1800" kern="0" dirty="0">
                    <a:solidFill>
                      <a:schemeClr val="bg2"/>
                    </a:solidFill>
                    <a:latin typeface="+mn-lt"/>
                    <a:sym typeface="Symbol"/>
                  </a:rPr>
                  <a:t>Los reguladores tienen información imperfecta sobre los atributos que demanda el mercado</a:t>
                </a:r>
              </a:p>
            </p:txBody>
          </p:sp>
          <p:sp>
            <p:nvSpPr>
              <p:cNvPr id="12" name="32 Rectángulo redondeado"/>
              <p:cNvSpPr/>
              <p:nvPr/>
            </p:nvSpPr>
            <p:spPr>
              <a:xfrm>
                <a:off x="1941436" y="945896"/>
                <a:ext cx="3690000" cy="2160000"/>
              </a:xfrm>
              <a:prstGeom prst="roundRect">
                <a:avLst>
                  <a:gd name="adj" fmla="val 3129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sz="1600"/>
              </a:p>
            </p:txBody>
          </p:sp>
        </p:grpSp>
        <p:grpSp>
          <p:nvGrpSpPr>
            <p:cNvPr id="8" name="35 Grupo"/>
            <p:cNvGrpSpPr/>
            <p:nvPr/>
          </p:nvGrpSpPr>
          <p:grpSpPr>
            <a:xfrm>
              <a:off x="1916032" y="3109904"/>
              <a:ext cx="3690000" cy="2567810"/>
              <a:chOff x="1916032" y="3109904"/>
              <a:chExt cx="3690000" cy="2567810"/>
            </a:xfrm>
          </p:grpSpPr>
          <p:sp>
            <p:nvSpPr>
              <p:cNvPr id="9" name="Text Box 27"/>
              <p:cNvSpPr txBox="1">
                <a:spLocks noChangeArrowheads="1"/>
              </p:cNvSpPr>
              <p:nvPr/>
            </p:nvSpPr>
            <p:spPr bwMode="gray">
              <a:xfrm>
                <a:off x="2336730" y="3249999"/>
                <a:ext cx="3240000" cy="242771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marL="342900" lvl="1" indent="-342900">
                  <a:spcBef>
                    <a:spcPct val="20000"/>
                  </a:spcBef>
                  <a:buClr>
                    <a:schemeClr val="tx1"/>
                  </a:buClr>
                  <a:buSzPct val="75000"/>
                  <a:buBlip>
                    <a:blip r:embed="rId5"/>
                  </a:buBlip>
                </a:pPr>
                <a:r>
                  <a:rPr lang="es-MX" sz="1800" kern="0" dirty="0">
                    <a:solidFill>
                      <a:schemeClr val="bg2"/>
                    </a:solidFill>
                    <a:latin typeface="+mn-lt"/>
                    <a:sym typeface="Symbol"/>
                  </a:rPr>
                  <a:t>Los marcos regulatorios de América Latina generan incentivos constantes para la reducción de costos</a:t>
                </a:r>
              </a:p>
              <a:p>
                <a:pPr marL="342900" lvl="1" indent="-342900">
                  <a:spcBef>
                    <a:spcPct val="20000"/>
                  </a:spcBef>
                  <a:buClr>
                    <a:schemeClr val="tx1"/>
                  </a:buClr>
                  <a:buSzPct val="75000"/>
                  <a:buBlip>
                    <a:blip r:embed="rId5"/>
                  </a:buBlip>
                </a:pPr>
                <a:r>
                  <a:rPr lang="es-MX" sz="1800" kern="0" dirty="0">
                    <a:solidFill>
                      <a:schemeClr val="bg2"/>
                    </a:solidFill>
                    <a:latin typeface="+mn-lt"/>
                    <a:sym typeface="Symbol"/>
                  </a:rPr>
                  <a:t>Estos incentivos a su vez generan incentivos para reducir la </a:t>
                </a:r>
                <a:r>
                  <a:rPr lang="es-MX" sz="1800" kern="0" dirty="0" err="1">
                    <a:solidFill>
                      <a:schemeClr val="bg2"/>
                    </a:solidFill>
                    <a:latin typeface="+mn-lt"/>
                    <a:sym typeface="Symbol"/>
                  </a:rPr>
                  <a:t>QoS</a:t>
                </a:r>
                <a:r>
                  <a:rPr lang="es-MX" sz="1800" kern="0" dirty="0">
                    <a:solidFill>
                      <a:schemeClr val="bg2"/>
                    </a:solidFill>
                    <a:latin typeface="+mn-lt"/>
                    <a:sym typeface="Symbol"/>
                  </a:rPr>
                  <a:t>*</a:t>
                </a:r>
              </a:p>
            </p:txBody>
          </p:sp>
          <p:sp>
            <p:nvSpPr>
              <p:cNvPr id="10" name="33 Rectángulo redondeado"/>
              <p:cNvSpPr/>
              <p:nvPr/>
            </p:nvSpPr>
            <p:spPr>
              <a:xfrm>
                <a:off x="1916032" y="3109904"/>
                <a:ext cx="3690000" cy="2412000"/>
              </a:xfrm>
              <a:prstGeom prst="roundRect">
                <a:avLst>
                  <a:gd name="adj" fmla="val 3129"/>
                </a:avLst>
              </a:prstGeom>
              <a:no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sz="1600"/>
              </a:p>
            </p:txBody>
          </p:sp>
        </p:grpSp>
      </p:grpSp>
      <p:sp>
        <p:nvSpPr>
          <p:cNvPr id="13" name="36 Triángulo isósceles"/>
          <p:cNvSpPr/>
          <p:nvPr/>
        </p:nvSpPr>
        <p:spPr>
          <a:xfrm rot="5400000">
            <a:off x="3309216" y="3469430"/>
            <a:ext cx="4680000" cy="432048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grpSp>
        <p:nvGrpSpPr>
          <p:cNvPr id="14" name="39 Grupo"/>
          <p:cNvGrpSpPr/>
          <p:nvPr/>
        </p:nvGrpSpPr>
        <p:grpSpPr>
          <a:xfrm>
            <a:off x="6004624" y="2001150"/>
            <a:ext cx="2800800" cy="3409238"/>
            <a:chOff x="6804248" y="2132856"/>
            <a:chExt cx="2800800" cy="3136100"/>
          </a:xfrm>
        </p:grpSpPr>
        <p:sp>
          <p:nvSpPr>
            <p:cNvPr id="15" name="37 Rectángulo redondeado"/>
            <p:cNvSpPr/>
            <p:nvPr/>
          </p:nvSpPr>
          <p:spPr>
            <a:xfrm>
              <a:off x="6804248" y="2132856"/>
              <a:ext cx="2800800" cy="2988440"/>
            </a:xfrm>
            <a:prstGeom prst="roundRect">
              <a:avLst>
                <a:gd name="adj" fmla="val 9085"/>
              </a:avLst>
            </a:prstGeom>
            <a:solidFill>
              <a:srgbClr val="322ADA"/>
            </a:solidFill>
            <a:ln>
              <a:solidFill>
                <a:srgbClr val="322AD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/>
            </a:p>
          </p:txBody>
        </p:sp>
        <p:sp>
          <p:nvSpPr>
            <p:cNvPr id="16" name="Rectangle 4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6935526" y="2221968"/>
              <a:ext cx="2538245" cy="30469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1800" b="1" kern="0" dirty="0" smtClean="0">
                  <a:solidFill>
                    <a:schemeClr val="bg1"/>
                  </a:solidFill>
                  <a:latin typeface="+mj-lt"/>
                  <a:ea typeface="+mj-ea"/>
                  <a:cs typeface="Arial" pitchFamily="34" charset="0"/>
                </a:rPr>
                <a:t>¿Cómo evitar la degradación generalizada de la calidad del servicio sin generar distorsiones y desincentivar la innovación, la eficiencia y la competencia en el mercado?</a:t>
              </a:r>
              <a:endParaRPr kumimoji="0" lang="es-MX" sz="1800" b="1" i="0" u="none" strike="noStrike" kern="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</p:grpSp>
      <p:grpSp>
        <p:nvGrpSpPr>
          <p:cNvPr id="17" name="41 Grupo"/>
          <p:cNvGrpSpPr/>
          <p:nvPr/>
        </p:nvGrpSpPr>
        <p:grpSpPr>
          <a:xfrm>
            <a:off x="57542" y="2306252"/>
            <a:ext cx="1800000" cy="2754587"/>
            <a:chOff x="142336" y="1916832"/>
            <a:chExt cx="1800000" cy="2754587"/>
          </a:xfrm>
        </p:grpSpPr>
        <p:sp>
          <p:nvSpPr>
            <p:cNvPr id="18" name="40 Rectángulo redondeado"/>
            <p:cNvSpPr/>
            <p:nvPr/>
          </p:nvSpPr>
          <p:spPr>
            <a:xfrm>
              <a:off x="142336" y="1916832"/>
              <a:ext cx="1800000" cy="2376264"/>
            </a:xfrm>
            <a:prstGeom prst="roundRect">
              <a:avLst>
                <a:gd name="adj" fmla="val 10349"/>
              </a:avLst>
            </a:prstGeom>
            <a:solidFill>
              <a:srgbClr val="FA12CE"/>
            </a:solidFill>
            <a:ln>
              <a:solidFill>
                <a:srgbClr val="FA12C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/>
            </a:p>
          </p:txBody>
        </p:sp>
        <p:sp>
          <p:nvSpPr>
            <p:cNvPr id="19" name="Text Box 27"/>
            <p:cNvSpPr txBox="1">
              <a:spLocks noChangeArrowheads="1"/>
            </p:cNvSpPr>
            <p:nvPr/>
          </p:nvSpPr>
          <p:spPr bwMode="gray">
            <a:xfrm>
              <a:off x="152828" y="2110718"/>
              <a:ext cx="1764000" cy="256070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342900" lvl="1" indent="-342900">
                <a:spcBef>
                  <a:spcPct val="20000"/>
                </a:spcBef>
                <a:buClr>
                  <a:schemeClr val="tx1"/>
                </a:buClr>
                <a:buSzPct val="75000"/>
                <a:buBlip>
                  <a:blip r:embed="rId5"/>
                </a:buBlip>
              </a:pPr>
              <a:r>
                <a:rPr lang="es-MX" sz="1600" b="1" kern="0" dirty="0">
                  <a:solidFill>
                    <a:schemeClr val="bg2"/>
                  </a:solidFill>
                  <a:latin typeface="+mn-lt"/>
                  <a:sym typeface="Symbol"/>
                </a:rPr>
                <a:t>Información imperfecta</a:t>
              </a:r>
            </a:p>
            <a:p>
              <a:pPr marL="342900" lvl="1" indent="-342900">
                <a:spcBef>
                  <a:spcPct val="20000"/>
                </a:spcBef>
                <a:buClr>
                  <a:schemeClr val="tx1"/>
                </a:buClr>
                <a:buSzPct val="75000"/>
                <a:buBlip>
                  <a:blip r:embed="rId5"/>
                </a:buBlip>
              </a:pPr>
              <a:r>
                <a:rPr lang="es-MX" sz="1600" b="1" kern="0" dirty="0">
                  <a:solidFill>
                    <a:schemeClr val="bg2"/>
                  </a:solidFill>
                  <a:latin typeface="+mn-lt"/>
                  <a:sym typeface="Symbol"/>
                </a:rPr>
                <a:t>Asimetría de información</a:t>
              </a:r>
            </a:p>
            <a:p>
              <a:pPr marL="342900" lvl="1" indent="-342900">
                <a:spcBef>
                  <a:spcPct val="20000"/>
                </a:spcBef>
                <a:buClr>
                  <a:schemeClr val="tx1"/>
                </a:buClr>
                <a:buSzPct val="75000"/>
                <a:buBlip>
                  <a:blip r:embed="rId5"/>
                </a:buBlip>
              </a:pPr>
              <a:r>
                <a:rPr lang="es-MX" sz="1600" b="1" kern="0" dirty="0">
                  <a:solidFill>
                    <a:schemeClr val="bg2"/>
                  </a:solidFill>
                  <a:latin typeface="+mn-lt"/>
                  <a:sym typeface="Symbol"/>
                </a:rPr>
                <a:t>Desarrollo tecnológico acelerado</a:t>
              </a:r>
            </a:p>
          </p:txBody>
        </p:sp>
      </p:grpSp>
      <p:sp>
        <p:nvSpPr>
          <p:cNvPr id="34" name="McK 4.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112713" y="6262688"/>
            <a:ext cx="8197851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s-MX" sz="1400" dirty="0">
                <a:latin typeface="Univers" pitchFamily="34" charset="0"/>
                <a:cs typeface="Arial" panose="020B0604020202020204" pitchFamily="34" charset="0"/>
              </a:rPr>
              <a:t>	      </a:t>
            </a:r>
            <a:r>
              <a:rPr lang="es-MX" sz="1400" dirty="0" smtClean="0">
                <a:latin typeface="Univers" pitchFamily="34" charset="0"/>
                <a:cs typeface="Arial" panose="020B0604020202020204" pitchFamily="34" charset="0"/>
              </a:rPr>
              <a:t>*  Partiendo de que costos y </a:t>
            </a:r>
            <a:r>
              <a:rPr lang="es-MX" sz="1400" dirty="0" err="1" smtClean="0">
                <a:latin typeface="Univers" pitchFamily="34" charset="0"/>
                <a:cs typeface="Arial" panose="020B0604020202020204" pitchFamily="34" charset="0"/>
              </a:rPr>
              <a:t>QoS</a:t>
            </a:r>
            <a:r>
              <a:rPr lang="es-MX" sz="1400" dirty="0" smtClean="0">
                <a:latin typeface="Univers" pitchFamily="34" charset="0"/>
                <a:cs typeface="Arial" panose="020B0604020202020204" pitchFamily="34" charset="0"/>
              </a:rPr>
              <a:t> están correlacionados positivamente</a:t>
            </a:r>
            <a:endParaRPr lang="es-MX" sz="1400" dirty="0">
              <a:latin typeface="Univers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686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12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3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12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12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2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2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2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2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12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3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12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12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2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2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2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2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2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Además</a:t>
            </a:r>
            <a:r>
              <a:rPr lang="en-US" dirty="0" smtClean="0"/>
              <a:t>, en </a:t>
            </a:r>
            <a:r>
              <a:rPr lang="en-US" dirty="0" err="1" smtClean="0"/>
              <a:t>las</a:t>
            </a:r>
            <a:r>
              <a:rPr lang="en-US" dirty="0" smtClean="0"/>
              <a:t> </a:t>
            </a:r>
            <a:r>
              <a:rPr lang="en-US" dirty="0" err="1" smtClean="0"/>
              <a:t>redes</a:t>
            </a:r>
            <a:r>
              <a:rPr lang="en-US" dirty="0" smtClean="0"/>
              <a:t> </a:t>
            </a:r>
            <a:r>
              <a:rPr lang="en-US" dirty="0" err="1" smtClean="0"/>
              <a:t>actuales</a:t>
            </a:r>
            <a:r>
              <a:rPr lang="en-US" dirty="0" smtClean="0"/>
              <a:t>, no se </a:t>
            </a:r>
            <a:r>
              <a:rPr lang="en-US" dirty="0" err="1" smtClean="0"/>
              <a:t>tiene</a:t>
            </a:r>
            <a:r>
              <a:rPr lang="en-US" dirty="0" smtClean="0"/>
              <a:t> control total de </a:t>
            </a:r>
            <a:r>
              <a:rPr lang="en-US" dirty="0" err="1" smtClean="0"/>
              <a:t>punta</a:t>
            </a:r>
            <a:r>
              <a:rPr lang="en-US" dirty="0" smtClean="0"/>
              <a:t> a </a:t>
            </a:r>
            <a:r>
              <a:rPr lang="en-US" dirty="0" err="1" smtClean="0"/>
              <a:t>punta</a:t>
            </a:r>
            <a:endParaRPr lang="en-US" dirty="0" smtClean="0"/>
          </a:p>
        </p:txBody>
      </p:sp>
      <p:pic>
        <p:nvPicPr>
          <p:cNvPr id="5" name="25 Imagen" descr="Smartphone_icon_svg.png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-2858" y="3676860"/>
            <a:ext cx="857250" cy="1211580"/>
          </a:xfrm>
          <a:prstGeom prst="rect">
            <a:avLst/>
          </a:prstGeom>
        </p:spPr>
      </p:pic>
      <p:pic>
        <p:nvPicPr>
          <p:cNvPr id="6" name="27 Imagen" descr="antenna icon.png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1142424" y="2800208"/>
            <a:ext cx="642018" cy="1558068"/>
          </a:xfrm>
          <a:prstGeom prst="rect">
            <a:avLst/>
          </a:prstGeom>
        </p:spPr>
      </p:pic>
      <p:pic>
        <p:nvPicPr>
          <p:cNvPr id="7" name="28 Imagen" descr="wlan1-md.png"/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743631" y="3207742"/>
            <a:ext cx="485315" cy="600578"/>
          </a:xfrm>
          <a:prstGeom prst="rect">
            <a:avLst/>
          </a:prstGeom>
        </p:spPr>
      </p:pic>
      <p:cxnSp>
        <p:nvCxnSpPr>
          <p:cNvPr id="9" name="33 Conector recto"/>
          <p:cNvCxnSpPr/>
          <p:nvPr/>
        </p:nvCxnSpPr>
        <p:spPr>
          <a:xfrm>
            <a:off x="1803846" y="4184126"/>
            <a:ext cx="6120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34 Rectángulo"/>
          <p:cNvSpPr/>
          <p:nvPr/>
        </p:nvSpPr>
        <p:spPr>
          <a:xfrm>
            <a:off x="2927408" y="3896094"/>
            <a:ext cx="360040" cy="648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1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 rot="16200000">
            <a:off x="2209688" y="2817438"/>
            <a:ext cx="1800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Conmutación 1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2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879416" y="4211912"/>
            <a:ext cx="18000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500" b="1" kern="0" dirty="0" smtClean="0">
                <a:latin typeface="+mj-lt"/>
                <a:ea typeface="+mj-ea"/>
                <a:cs typeface="Arial" pitchFamily="34" charset="0"/>
              </a:rPr>
              <a:t>Tránsito</a:t>
            </a:r>
            <a:endParaRPr kumimoji="0" lang="es-MX" sz="15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3" name="34 Rectángulo"/>
          <p:cNvSpPr/>
          <p:nvPr/>
        </p:nvSpPr>
        <p:spPr>
          <a:xfrm>
            <a:off x="3707904" y="3880328"/>
            <a:ext cx="360040" cy="648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4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 rot="16200000">
            <a:off x="2958796" y="2709716"/>
            <a:ext cx="180000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Punto de interconexión 1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5" name="34 Rectángulo"/>
          <p:cNvSpPr/>
          <p:nvPr/>
        </p:nvSpPr>
        <p:spPr>
          <a:xfrm>
            <a:off x="5595862" y="3880328"/>
            <a:ext cx="360040" cy="648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 rot="16200000">
            <a:off x="4857885" y="2709716"/>
            <a:ext cx="180000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Punto de interconexión 2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7" name="34 Rectángulo"/>
          <p:cNvSpPr/>
          <p:nvPr/>
        </p:nvSpPr>
        <p:spPr>
          <a:xfrm>
            <a:off x="6372200" y="3894280"/>
            <a:ext cx="360040" cy="648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8" name="Rectangle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5664999" y="2817438"/>
            <a:ext cx="1800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Conmutación 2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355" y="3375607"/>
            <a:ext cx="1319213" cy="1345406"/>
          </a:xfrm>
          <a:prstGeom prst="rect">
            <a:avLst/>
          </a:prstGeom>
        </p:spPr>
      </p:pic>
      <p:sp>
        <p:nvSpPr>
          <p:cNvPr id="20" name="38 Flecha izquierda y derecha"/>
          <p:cNvSpPr/>
          <p:nvPr/>
        </p:nvSpPr>
        <p:spPr>
          <a:xfrm>
            <a:off x="251520" y="4959886"/>
            <a:ext cx="3600000" cy="288032"/>
          </a:xfrm>
          <a:prstGeom prst="leftRightArrow">
            <a:avLst/>
          </a:prstGeom>
          <a:solidFill>
            <a:srgbClr val="FA12CE"/>
          </a:solidFill>
          <a:ln>
            <a:solidFill>
              <a:srgbClr val="FA12C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sp>
        <p:nvSpPr>
          <p:cNvPr id="21" name="38 Flecha izquierda y derecha"/>
          <p:cNvSpPr/>
          <p:nvPr/>
        </p:nvSpPr>
        <p:spPr>
          <a:xfrm>
            <a:off x="3910927" y="4959886"/>
            <a:ext cx="1764000" cy="288032"/>
          </a:xfrm>
          <a:prstGeom prst="left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sp>
        <p:nvSpPr>
          <p:cNvPr id="22" name="38 Flecha izquierda y derecha"/>
          <p:cNvSpPr/>
          <p:nvPr/>
        </p:nvSpPr>
        <p:spPr>
          <a:xfrm>
            <a:off x="5724328" y="4959886"/>
            <a:ext cx="2880000" cy="288032"/>
          </a:xfrm>
          <a:prstGeom prst="leftRightArrow">
            <a:avLst/>
          </a:prstGeom>
          <a:solidFill>
            <a:srgbClr val="0E438A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sp>
        <p:nvSpPr>
          <p:cNvPr id="23" name="Rectangle 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162066" y="5249060"/>
            <a:ext cx="1800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Red 1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4" name="Rectangle 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890757" y="5249060"/>
            <a:ext cx="1800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Red 2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5" name="Rectangle 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300392" y="5249060"/>
            <a:ext cx="1800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Red 3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7617039" y="1163344"/>
            <a:ext cx="1149376" cy="185246"/>
            <a:chOff x="7617039" y="1163344"/>
            <a:chExt cx="1149376" cy="185246"/>
          </a:xfrm>
        </p:grpSpPr>
        <p:sp>
          <p:nvSpPr>
            <p:cNvPr id="27" name="Rectangle 4"/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7617039" y="1163924"/>
              <a:ext cx="1149376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1200" i="1" kern="0" dirty="0" smtClean="0">
                  <a:latin typeface="+mj-lt"/>
                  <a:ea typeface="+mj-ea"/>
                  <a:cs typeface="Arial" pitchFamily="34" charset="0"/>
                </a:rPr>
                <a:t>ILUSTRATIVO</a:t>
              </a:r>
              <a:endParaRPr kumimoji="0" lang="es-MX" sz="1200" i="1" u="none" strike="noStrike" kern="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  <p:cxnSp>
          <p:nvCxnSpPr>
            <p:cNvPr id="28" name="Conector recto 27"/>
            <p:cNvCxnSpPr/>
            <p:nvPr/>
          </p:nvCxnSpPr>
          <p:spPr>
            <a:xfrm>
              <a:off x="7646030" y="1163344"/>
              <a:ext cx="10584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cto 28"/>
            <p:cNvCxnSpPr/>
            <p:nvPr/>
          </p:nvCxnSpPr>
          <p:spPr>
            <a:xfrm>
              <a:off x="7646030" y="1338424"/>
              <a:ext cx="10584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302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8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9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8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8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9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8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2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sto</a:t>
            </a:r>
            <a:r>
              <a:rPr lang="en-US" dirty="0" smtClean="0"/>
              <a:t> </a:t>
            </a:r>
            <a:r>
              <a:rPr lang="en-US" dirty="0" err="1" smtClean="0"/>
              <a:t>es</a:t>
            </a:r>
            <a:r>
              <a:rPr lang="en-US" dirty="0" smtClean="0"/>
              <a:t> </a:t>
            </a:r>
            <a:r>
              <a:rPr lang="en-US" dirty="0" err="1" smtClean="0"/>
              <a:t>aún</a:t>
            </a:r>
            <a:r>
              <a:rPr lang="en-US" dirty="0" smtClean="0"/>
              <a:t> </a:t>
            </a:r>
            <a:r>
              <a:rPr lang="en-US" dirty="0" err="1" smtClean="0"/>
              <a:t>más</a:t>
            </a:r>
            <a:r>
              <a:rPr lang="en-US" dirty="0" smtClean="0"/>
              <a:t> </a:t>
            </a:r>
            <a:r>
              <a:rPr lang="en-US" dirty="0" err="1" smtClean="0"/>
              <a:t>acentuado</a:t>
            </a:r>
            <a:r>
              <a:rPr lang="en-US" dirty="0" smtClean="0"/>
              <a:t> en </a:t>
            </a:r>
            <a:r>
              <a:rPr lang="en-US" dirty="0" err="1" smtClean="0"/>
              <a:t>redes</a:t>
            </a:r>
            <a:r>
              <a:rPr lang="en-US" dirty="0" smtClean="0"/>
              <a:t> de internet</a:t>
            </a:r>
          </a:p>
        </p:txBody>
      </p:sp>
      <p:grpSp>
        <p:nvGrpSpPr>
          <p:cNvPr id="3" name="Grupo 2"/>
          <p:cNvGrpSpPr/>
          <p:nvPr/>
        </p:nvGrpSpPr>
        <p:grpSpPr>
          <a:xfrm>
            <a:off x="7617039" y="1163344"/>
            <a:ext cx="1149376" cy="185246"/>
            <a:chOff x="7617039" y="1163344"/>
            <a:chExt cx="1149376" cy="185246"/>
          </a:xfrm>
        </p:grpSpPr>
        <p:sp>
          <p:nvSpPr>
            <p:cNvPr id="27" name="Rectangle 4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7617039" y="1163924"/>
              <a:ext cx="1149376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1200" i="1" kern="0" dirty="0" smtClean="0">
                  <a:latin typeface="+mj-lt"/>
                  <a:ea typeface="+mj-ea"/>
                  <a:cs typeface="Arial" pitchFamily="34" charset="0"/>
                </a:rPr>
                <a:t>ILUSTRATIVO</a:t>
              </a:r>
              <a:endParaRPr kumimoji="0" lang="es-MX" sz="1200" i="1" u="none" strike="noStrike" kern="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  <p:cxnSp>
          <p:nvCxnSpPr>
            <p:cNvPr id="28" name="Conector recto 27"/>
            <p:cNvCxnSpPr/>
            <p:nvPr/>
          </p:nvCxnSpPr>
          <p:spPr>
            <a:xfrm>
              <a:off x="7646030" y="1163344"/>
              <a:ext cx="10584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ector recto 28"/>
            <p:cNvCxnSpPr/>
            <p:nvPr/>
          </p:nvCxnSpPr>
          <p:spPr>
            <a:xfrm>
              <a:off x="7646030" y="1338424"/>
              <a:ext cx="10584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0" name="23 Imagen" descr="interconnected networks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2439492" y="1700808"/>
            <a:ext cx="5804916" cy="4299204"/>
          </a:xfrm>
          <a:prstGeom prst="rect">
            <a:avLst/>
          </a:prstGeom>
        </p:spPr>
      </p:pic>
      <p:pic>
        <p:nvPicPr>
          <p:cNvPr id="31" name="25 Imagen" descr="Smartphone_icon_svg.pn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611560" y="4593684"/>
            <a:ext cx="857250" cy="1211580"/>
          </a:xfrm>
          <a:prstGeom prst="rect">
            <a:avLst/>
          </a:prstGeom>
        </p:spPr>
      </p:pic>
      <p:pic>
        <p:nvPicPr>
          <p:cNvPr id="32" name="27 Imagen" descr="antenna icon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1698786" y="3760574"/>
            <a:ext cx="642018" cy="1558068"/>
          </a:xfrm>
          <a:prstGeom prst="rect">
            <a:avLst/>
          </a:prstGeom>
        </p:spPr>
      </p:pic>
      <p:pic>
        <p:nvPicPr>
          <p:cNvPr id="33" name="28 Imagen" descr="wlan1-md.pn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1358049" y="4124566"/>
            <a:ext cx="485315" cy="600578"/>
          </a:xfrm>
          <a:prstGeom prst="rect">
            <a:avLst/>
          </a:prstGeom>
        </p:spPr>
      </p:pic>
      <p:sp>
        <p:nvSpPr>
          <p:cNvPr id="34" name="31 Rectángulo"/>
          <p:cNvSpPr/>
          <p:nvPr/>
        </p:nvSpPr>
        <p:spPr>
          <a:xfrm>
            <a:off x="3491880" y="5661248"/>
            <a:ext cx="3744416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5" name="35 Rectángulo"/>
          <p:cNvSpPr/>
          <p:nvPr/>
        </p:nvSpPr>
        <p:spPr>
          <a:xfrm>
            <a:off x="6047656" y="5085184"/>
            <a:ext cx="2124744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6" name="38 Rectángulo"/>
          <p:cNvSpPr/>
          <p:nvPr/>
        </p:nvSpPr>
        <p:spPr>
          <a:xfrm>
            <a:off x="6200056" y="3717032"/>
            <a:ext cx="2124744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7" name="39 Rectángulo"/>
          <p:cNvSpPr/>
          <p:nvPr/>
        </p:nvSpPr>
        <p:spPr>
          <a:xfrm>
            <a:off x="5223860" y="2607502"/>
            <a:ext cx="3164564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8" name="40 Rectángulo"/>
          <p:cNvSpPr/>
          <p:nvPr/>
        </p:nvSpPr>
        <p:spPr>
          <a:xfrm>
            <a:off x="6164560" y="1988840"/>
            <a:ext cx="2124744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cxnSp>
        <p:nvCxnSpPr>
          <p:cNvPr id="39" name="42 Conector recto"/>
          <p:cNvCxnSpPr/>
          <p:nvPr/>
        </p:nvCxnSpPr>
        <p:spPr>
          <a:xfrm>
            <a:off x="2292454" y="5157192"/>
            <a:ext cx="576064" cy="144016"/>
          </a:xfrm>
          <a:prstGeom prst="line">
            <a:avLst/>
          </a:prstGeom>
          <a:ln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43 Conector recto"/>
          <p:cNvCxnSpPr/>
          <p:nvPr/>
        </p:nvCxnSpPr>
        <p:spPr>
          <a:xfrm>
            <a:off x="5852378" y="2157566"/>
            <a:ext cx="576064" cy="1440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45 Cilindro"/>
          <p:cNvSpPr/>
          <p:nvPr/>
        </p:nvSpPr>
        <p:spPr>
          <a:xfrm>
            <a:off x="6473236" y="1880928"/>
            <a:ext cx="504000" cy="900000"/>
          </a:xfrm>
          <a:prstGeom prst="can">
            <a:avLst/>
          </a:prstGeom>
          <a:solidFill>
            <a:srgbClr val="54B00A"/>
          </a:solidFill>
          <a:ln>
            <a:solidFill>
              <a:srgbClr val="322A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2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827668" y="2845372"/>
            <a:ext cx="180000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500" b="1" kern="0" dirty="0" smtClean="0">
                <a:latin typeface="+mj-lt"/>
                <a:ea typeface="+mj-ea"/>
                <a:cs typeface="Arial" pitchFamily="34" charset="0"/>
              </a:rPr>
              <a:t>Proveedor de contenido</a:t>
            </a:r>
            <a:endParaRPr kumimoji="0" lang="es-MX" sz="15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43" name="47 Elipse"/>
          <p:cNvSpPr/>
          <p:nvPr/>
        </p:nvSpPr>
        <p:spPr>
          <a:xfrm>
            <a:off x="7740352" y="2182086"/>
            <a:ext cx="288032" cy="144016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4" name="48 Elipse"/>
          <p:cNvSpPr/>
          <p:nvPr/>
        </p:nvSpPr>
        <p:spPr>
          <a:xfrm>
            <a:off x="7740352" y="2414456"/>
            <a:ext cx="288032" cy="14401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5" name="49 Elipse"/>
          <p:cNvSpPr/>
          <p:nvPr/>
        </p:nvSpPr>
        <p:spPr>
          <a:xfrm>
            <a:off x="7740352" y="2623658"/>
            <a:ext cx="288032" cy="144016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46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8172400" y="2146372"/>
            <a:ext cx="72008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Red 1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47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8172400" y="2378742"/>
            <a:ext cx="72008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Red 2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48" name="Rectangle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172400" y="2587944"/>
            <a:ext cx="72008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Red 3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206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8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9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8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8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9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8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2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Y </a:t>
            </a:r>
            <a:r>
              <a:rPr lang="en-US" dirty="0" err="1" smtClean="0"/>
              <a:t>también</a:t>
            </a:r>
            <a:r>
              <a:rPr lang="en-US" dirty="0" smtClean="0"/>
              <a:t> </a:t>
            </a:r>
            <a:r>
              <a:rPr lang="en-US" dirty="0" err="1" smtClean="0"/>
              <a:t>existen</a:t>
            </a:r>
            <a:r>
              <a:rPr lang="en-US" dirty="0" smtClean="0"/>
              <a:t> </a:t>
            </a:r>
            <a:r>
              <a:rPr lang="en-US" dirty="0" err="1" smtClean="0"/>
              <a:t>algunos</a:t>
            </a:r>
            <a:r>
              <a:rPr lang="en-US" dirty="0" smtClean="0"/>
              <a:t> </a:t>
            </a:r>
            <a:r>
              <a:rPr lang="en-US" dirty="0" err="1" smtClean="0"/>
              <a:t>factores</a:t>
            </a:r>
            <a:r>
              <a:rPr lang="en-US" dirty="0" smtClean="0"/>
              <a:t> </a:t>
            </a:r>
            <a:r>
              <a:rPr lang="en-US" dirty="0" err="1" smtClean="0"/>
              <a:t>exógenos</a:t>
            </a:r>
            <a:r>
              <a:rPr lang="en-US" dirty="0" smtClean="0"/>
              <a:t> </a:t>
            </a:r>
            <a:r>
              <a:rPr lang="en-US" dirty="0" err="1" smtClean="0"/>
              <a:t>que</a:t>
            </a:r>
            <a:r>
              <a:rPr lang="en-US" dirty="0" smtClean="0"/>
              <a:t> </a:t>
            </a:r>
            <a:r>
              <a:rPr lang="en-US" dirty="0" err="1" smtClean="0"/>
              <a:t>afectan</a:t>
            </a:r>
            <a:r>
              <a:rPr lang="en-US" dirty="0" smtClean="0"/>
              <a:t> la </a:t>
            </a:r>
            <a:r>
              <a:rPr lang="en-US" dirty="0" err="1" smtClean="0"/>
              <a:t>QoS</a:t>
            </a:r>
            <a:endParaRPr lang="en-US" dirty="0" smtClean="0"/>
          </a:p>
        </p:txBody>
      </p:sp>
      <p:pic>
        <p:nvPicPr>
          <p:cNvPr id="5" name="19 Imagen" descr="weather logo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655971" y="1820734"/>
            <a:ext cx="2143125" cy="2143125"/>
          </a:xfrm>
          <a:prstGeom prst="rect">
            <a:avLst/>
          </a:prstGeom>
        </p:spPr>
      </p:pic>
      <p:pic>
        <p:nvPicPr>
          <p:cNvPr id="6" name="20 Imagen" descr="building-logo-vector-791371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3557776" y="1941222"/>
            <a:ext cx="1911096" cy="2011680"/>
          </a:xfrm>
          <a:prstGeom prst="rect">
            <a:avLst/>
          </a:prstGeom>
        </p:spPr>
      </p:pic>
      <p:grpSp>
        <p:nvGrpSpPr>
          <p:cNvPr id="7" name="43 Grupo"/>
          <p:cNvGrpSpPr/>
          <p:nvPr/>
        </p:nvGrpSpPr>
        <p:grpSpPr>
          <a:xfrm>
            <a:off x="6383533" y="2060724"/>
            <a:ext cx="1954067" cy="2112746"/>
            <a:chOff x="6097068" y="1772816"/>
            <a:chExt cx="1954067" cy="2112746"/>
          </a:xfrm>
        </p:grpSpPr>
        <p:pic>
          <p:nvPicPr>
            <p:cNvPr id="8" name="21 Imagen" descr="Smartphone_icon_svg.png"/>
            <p:cNvPicPr>
              <a:picLocks noChangeAspect="1"/>
            </p:cNvPicPr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6097068" y="2673982"/>
              <a:ext cx="857250" cy="1211580"/>
            </a:xfrm>
            <a:prstGeom prst="rect">
              <a:avLst/>
            </a:prstGeom>
          </p:spPr>
        </p:pic>
        <p:pic>
          <p:nvPicPr>
            <p:cNvPr id="9" name="22 Imagen" descr="antenna icon.png"/>
            <p:cNvPicPr>
              <a:picLocks noChangeAspect="1"/>
            </p:cNvPicPr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7242350" y="1772816"/>
              <a:ext cx="642018" cy="1558068"/>
            </a:xfrm>
            <a:prstGeom prst="rect">
              <a:avLst/>
            </a:prstGeom>
          </p:spPr>
        </p:pic>
        <p:pic>
          <p:nvPicPr>
            <p:cNvPr id="10" name="23 Imagen" descr="wlan1-md.png"/>
            <p:cNvPicPr>
              <a:picLocks noChangeAspect="1"/>
            </p:cNvPicPr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6843557" y="2204864"/>
              <a:ext cx="485315" cy="600578"/>
            </a:xfrm>
            <a:prstGeom prst="rect">
              <a:avLst/>
            </a:prstGeom>
          </p:spPr>
        </p:pic>
        <p:grpSp>
          <p:nvGrpSpPr>
            <p:cNvPr id="11" name="30 Grupo"/>
            <p:cNvGrpSpPr/>
            <p:nvPr/>
          </p:nvGrpSpPr>
          <p:grpSpPr>
            <a:xfrm rot="20205209">
              <a:off x="6251135" y="3477349"/>
              <a:ext cx="1800000" cy="209912"/>
              <a:chOff x="6300192" y="4437112"/>
              <a:chExt cx="1800000" cy="209912"/>
            </a:xfrm>
          </p:grpSpPr>
          <p:cxnSp>
            <p:nvCxnSpPr>
              <p:cNvPr id="12" name="28 Conector recto de flecha"/>
              <p:cNvCxnSpPr/>
              <p:nvPr/>
            </p:nvCxnSpPr>
            <p:spPr>
              <a:xfrm>
                <a:off x="6685392" y="4647024"/>
                <a:ext cx="1029600" cy="0"/>
              </a:xfrm>
              <a:prstGeom prst="straightConnector1">
                <a:avLst/>
              </a:prstGeom>
              <a:ln>
                <a:headEnd type="arrow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Rectangle 4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6300192" y="4437112"/>
                <a:ext cx="1800000" cy="2000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89535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s-MX" sz="1300" b="1" kern="0" dirty="0" smtClean="0">
                    <a:latin typeface="+mj-lt"/>
                    <a:ea typeface="+mj-ea"/>
                    <a:cs typeface="Arial" pitchFamily="34" charset="0"/>
                  </a:rPr>
                  <a:t>distancia</a:t>
                </a:r>
                <a:endParaRPr kumimoji="0" lang="es-MX" sz="1300" b="1" i="0" u="none" strike="noStrike" kern="0" cap="none" spc="0" normalizeH="0" baseline="0" dirty="0">
                  <a:ln>
                    <a:noFill/>
                  </a:ln>
                  <a:effectLst/>
                  <a:uLnTx/>
                  <a:uFillTx/>
                  <a:latin typeface="+mj-lt"/>
                  <a:ea typeface="+mj-ea"/>
                  <a:cs typeface="Arial" pitchFamily="34" charset="0"/>
                </a:endParaRPr>
              </a:p>
            </p:txBody>
          </p:sp>
        </p:grpSp>
      </p:grpSp>
      <p:sp>
        <p:nvSpPr>
          <p:cNvPr id="15" name="32 Rectángulo redondeado"/>
          <p:cNvSpPr/>
          <p:nvPr/>
        </p:nvSpPr>
        <p:spPr>
          <a:xfrm>
            <a:off x="827584" y="1388135"/>
            <a:ext cx="1800000" cy="648000"/>
          </a:xfrm>
          <a:prstGeom prst="roundRect">
            <a:avLst/>
          </a:prstGeom>
          <a:solidFill>
            <a:srgbClr val="322ADA"/>
          </a:solidFill>
          <a:ln>
            <a:solidFill>
              <a:srgbClr val="322A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400"/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51354" y="1535025"/>
            <a:ext cx="115246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Clima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8" name="35 Rectángulo redondeado"/>
          <p:cNvSpPr/>
          <p:nvPr/>
        </p:nvSpPr>
        <p:spPr>
          <a:xfrm>
            <a:off x="3662904" y="1388135"/>
            <a:ext cx="1800000" cy="648000"/>
          </a:xfrm>
          <a:prstGeom prst="roundRect">
            <a:avLst/>
          </a:prstGeom>
          <a:solidFill>
            <a:srgbClr val="322ADA"/>
          </a:solidFill>
          <a:ln>
            <a:solidFill>
              <a:srgbClr val="322A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400"/>
          </a:p>
        </p:txBody>
      </p:sp>
      <p:sp>
        <p:nvSpPr>
          <p:cNvPr id="19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698808" y="1386156"/>
            <a:ext cx="172819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Obstáculos entre el terminal y la ERB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1" name="38 Rectángulo redondeado"/>
          <p:cNvSpPr/>
          <p:nvPr/>
        </p:nvSpPr>
        <p:spPr>
          <a:xfrm>
            <a:off x="6393584" y="1388135"/>
            <a:ext cx="1800000" cy="648000"/>
          </a:xfrm>
          <a:prstGeom prst="roundRect">
            <a:avLst/>
          </a:prstGeom>
          <a:solidFill>
            <a:srgbClr val="322ADA"/>
          </a:solidFill>
          <a:ln>
            <a:solidFill>
              <a:srgbClr val="322A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400"/>
          </a:p>
        </p:txBody>
      </p:sp>
      <p:sp>
        <p:nvSpPr>
          <p:cNvPr id="22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429488" y="1386156"/>
            <a:ext cx="172819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Distancia</a:t>
            </a:r>
            <a:r>
              <a:rPr kumimoji="0" lang="es-MX" sz="1400" b="1" i="0" u="none" strike="noStrike" kern="0" cap="none" spc="0" normalizeH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 entre el terminal y la ERB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3" name="44 Triángulo isósceles"/>
          <p:cNvSpPr/>
          <p:nvPr/>
        </p:nvSpPr>
        <p:spPr>
          <a:xfrm rot="10800000">
            <a:off x="971600" y="4214414"/>
            <a:ext cx="6912768" cy="288032"/>
          </a:xfrm>
          <a:prstGeom prst="triangl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4" name="Text Box 27"/>
          <p:cNvSpPr txBox="1">
            <a:spLocks noChangeArrowheads="1"/>
          </p:cNvSpPr>
          <p:nvPr/>
        </p:nvSpPr>
        <p:spPr bwMode="gray">
          <a:xfrm>
            <a:off x="625086" y="4606011"/>
            <a:ext cx="7907354" cy="16619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8"/>
              </a:buBlip>
            </a:pPr>
            <a:r>
              <a:rPr lang="es-MX" sz="2000" kern="0" dirty="0">
                <a:solidFill>
                  <a:schemeClr val="bg2"/>
                </a:solidFill>
                <a:latin typeface="+mn-lt"/>
                <a:sym typeface="Symbol"/>
              </a:rPr>
              <a:t>La propagación de la señal se ve en todo momento afectada por estas tres variables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8"/>
              </a:buBlip>
            </a:pPr>
            <a:r>
              <a:rPr lang="es-MX" sz="2000" kern="0" dirty="0">
                <a:solidFill>
                  <a:schemeClr val="bg2"/>
                </a:solidFill>
                <a:latin typeface="+mn-lt"/>
                <a:sym typeface="Symbol"/>
              </a:rPr>
              <a:t>Las tres variables están totalmente fuera del control de la operadora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8"/>
              </a:buBlip>
            </a:pPr>
            <a:r>
              <a:rPr lang="es-MX" sz="2000" kern="0" dirty="0">
                <a:solidFill>
                  <a:schemeClr val="bg2"/>
                </a:solidFill>
                <a:latin typeface="+mn-lt"/>
                <a:sym typeface="Symbol"/>
              </a:rPr>
              <a:t>Incorporarlas en el diseño es complicado o casi imposible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7956376" y="1124744"/>
            <a:ext cx="1149376" cy="196550"/>
            <a:chOff x="8751216" y="1152040"/>
            <a:chExt cx="1149376" cy="196550"/>
          </a:xfrm>
        </p:grpSpPr>
        <p:sp>
          <p:nvSpPr>
            <p:cNvPr id="26" name="Rectangle 4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751216" y="1163924"/>
              <a:ext cx="1149376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1200" i="1" kern="0" dirty="0" smtClean="0">
                  <a:latin typeface="+mj-lt"/>
                  <a:ea typeface="+mj-ea"/>
                  <a:cs typeface="Arial" pitchFamily="34" charset="0"/>
                </a:rPr>
                <a:t>EJEMPLOS</a:t>
              </a:r>
              <a:endParaRPr kumimoji="0" lang="es-MX" sz="1200" i="1" u="none" strike="noStrike" kern="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  <p:cxnSp>
          <p:nvCxnSpPr>
            <p:cNvPr id="28" name="Conector recto 27"/>
            <p:cNvCxnSpPr/>
            <p:nvPr/>
          </p:nvCxnSpPr>
          <p:spPr>
            <a:xfrm>
              <a:off x="8877856" y="1340768"/>
              <a:ext cx="8928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ector recto 26"/>
            <p:cNvCxnSpPr/>
            <p:nvPr/>
          </p:nvCxnSpPr>
          <p:spPr>
            <a:xfrm>
              <a:off x="8877856" y="1152040"/>
              <a:ext cx="8928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67937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2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Esto</a:t>
            </a:r>
            <a:r>
              <a:rPr lang="en-US" dirty="0" smtClean="0"/>
              <a:t> </a:t>
            </a:r>
            <a:r>
              <a:rPr lang="en-US" dirty="0" err="1" smtClean="0"/>
              <a:t>complica</a:t>
            </a:r>
            <a:r>
              <a:rPr lang="en-US" dirty="0" smtClean="0"/>
              <a:t> la </a:t>
            </a:r>
            <a:r>
              <a:rPr lang="en-US" dirty="0" err="1" smtClean="0"/>
              <a:t>imposición</a:t>
            </a:r>
            <a:r>
              <a:rPr lang="en-US" dirty="0" smtClean="0"/>
              <a:t> de </a:t>
            </a:r>
            <a:r>
              <a:rPr lang="en-US" dirty="0" err="1" smtClean="0"/>
              <a:t>indicadores</a:t>
            </a:r>
            <a:r>
              <a:rPr lang="en-US" dirty="0" smtClean="0"/>
              <a:t> de </a:t>
            </a:r>
            <a:r>
              <a:rPr lang="en-US" dirty="0" err="1" smtClean="0"/>
              <a:t>QoS</a:t>
            </a:r>
            <a:r>
              <a:rPr lang="en-US" dirty="0" smtClean="0"/>
              <a:t> </a:t>
            </a:r>
            <a:r>
              <a:rPr lang="en-US" dirty="0" err="1" smtClean="0"/>
              <a:t>mínimos</a:t>
            </a:r>
            <a:endParaRPr lang="en-US" dirty="0" smtClean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auto">
          <a:xfrm>
            <a:off x="324090" y="124085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US" sz="2200" kern="0" dirty="0" smtClean="0"/>
              <a:t>En la </a:t>
            </a:r>
            <a:r>
              <a:rPr lang="en-US" sz="2200" kern="0" dirty="0" err="1" smtClean="0"/>
              <a:t>actualidad</a:t>
            </a:r>
            <a:r>
              <a:rPr lang="en-US" sz="2200" kern="0" dirty="0" smtClean="0"/>
              <a:t>, </a:t>
            </a:r>
            <a:r>
              <a:rPr lang="en-US" sz="2200" kern="0" dirty="0" err="1" smtClean="0"/>
              <a:t>prácticamente</a:t>
            </a:r>
            <a:r>
              <a:rPr lang="en-US" sz="2200" kern="0" dirty="0" smtClean="0"/>
              <a:t> </a:t>
            </a:r>
            <a:r>
              <a:rPr lang="en-US" sz="2200" kern="0" dirty="0" err="1" smtClean="0"/>
              <a:t>todas</a:t>
            </a:r>
            <a:r>
              <a:rPr lang="en-US" sz="2200" kern="0" dirty="0" smtClean="0"/>
              <a:t> </a:t>
            </a:r>
            <a:r>
              <a:rPr lang="en-US" sz="2200" kern="0" dirty="0" err="1" smtClean="0"/>
              <a:t>las</a:t>
            </a:r>
            <a:r>
              <a:rPr lang="en-US" sz="2200" kern="0" dirty="0" smtClean="0"/>
              <a:t> </a:t>
            </a:r>
            <a:r>
              <a:rPr lang="en-US" sz="2200" kern="0" dirty="0" err="1" smtClean="0"/>
              <a:t>comunicaciones</a:t>
            </a:r>
            <a:r>
              <a:rPr lang="en-US" sz="2200" kern="0" dirty="0" smtClean="0"/>
              <a:t> (</a:t>
            </a:r>
            <a:r>
              <a:rPr lang="en-US" sz="2200" kern="0" dirty="0" err="1" smtClean="0"/>
              <a:t>punta</a:t>
            </a:r>
            <a:r>
              <a:rPr lang="en-US" sz="2200" kern="0" dirty="0" smtClean="0"/>
              <a:t> a </a:t>
            </a:r>
            <a:r>
              <a:rPr lang="en-US" sz="2200" kern="0" dirty="0" err="1" smtClean="0"/>
              <a:t>punta</a:t>
            </a:r>
            <a:r>
              <a:rPr lang="en-US" sz="2200" kern="0" dirty="0" smtClean="0"/>
              <a:t>) </a:t>
            </a:r>
            <a:r>
              <a:rPr lang="en-US" sz="2200" kern="0" dirty="0" err="1" smtClean="0"/>
              <a:t>utilizan</a:t>
            </a:r>
            <a:r>
              <a:rPr lang="en-US" sz="2200" kern="0" dirty="0" smtClean="0"/>
              <a:t> </a:t>
            </a:r>
            <a:r>
              <a:rPr lang="en-US" sz="2200" kern="0" dirty="0" err="1" smtClean="0"/>
              <a:t>más</a:t>
            </a:r>
            <a:r>
              <a:rPr lang="en-US" sz="2200" kern="0" dirty="0" smtClean="0"/>
              <a:t> de </a:t>
            </a:r>
            <a:r>
              <a:rPr lang="en-US" sz="2200" kern="0" dirty="0" err="1" smtClean="0"/>
              <a:t>una</a:t>
            </a:r>
            <a:r>
              <a:rPr lang="en-US" sz="2200" kern="0" dirty="0" smtClean="0"/>
              <a:t> red</a:t>
            </a:r>
          </a:p>
          <a:p>
            <a:r>
              <a:rPr lang="en-US" sz="2200" kern="0" dirty="0" smtClean="0"/>
              <a:t>La </a:t>
            </a:r>
            <a:r>
              <a:rPr lang="en-US" sz="2200" kern="0" dirty="0" err="1" smtClean="0"/>
              <a:t>calidad</a:t>
            </a:r>
            <a:r>
              <a:rPr lang="en-US" sz="2200" kern="0" dirty="0" smtClean="0"/>
              <a:t> total – de </a:t>
            </a:r>
            <a:r>
              <a:rPr lang="en-US" sz="2200" kern="0" dirty="0" err="1" smtClean="0"/>
              <a:t>extremo</a:t>
            </a:r>
            <a:r>
              <a:rPr lang="en-US" sz="2200" kern="0" dirty="0" smtClean="0"/>
              <a:t> a </a:t>
            </a:r>
            <a:r>
              <a:rPr lang="en-US" sz="2200" kern="0" dirty="0" err="1" smtClean="0"/>
              <a:t>extremo</a:t>
            </a:r>
            <a:r>
              <a:rPr lang="en-US" sz="2200" kern="0" dirty="0" smtClean="0"/>
              <a:t> – </a:t>
            </a:r>
            <a:r>
              <a:rPr lang="en-US" sz="2200" kern="0" dirty="0" err="1" smtClean="0"/>
              <a:t>depende</a:t>
            </a:r>
            <a:r>
              <a:rPr lang="en-US" sz="2200" kern="0" dirty="0" smtClean="0"/>
              <a:t> de la </a:t>
            </a:r>
            <a:r>
              <a:rPr lang="en-US" sz="2200" kern="0" dirty="0" err="1" smtClean="0"/>
              <a:t>calidad</a:t>
            </a:r>
            <a:r>
              <a:rPr lang="en-US" sz="2200" kern="0" dirty="0" smtClean="0"/>
              <a:t> de </a:t>
            </a:r>
            <a:r>
              <a:rPr lang="en-US" sz="2200" kern="0" dirty="0" err="1" smtClean="0"/>
              <a:t>cada</a:t>
            </a:r>
            <a:r>
              <a:rPr lang="en-US" sz="2200" kern="0" dirty="0"/>
              <a:t> </a:t>
            </a:r>
            <a:r>
              <a:rPr lang="en-US" sz="2200" kern="0" dirty="0" err="1" smtClean="0"/>
              <a:t>uno</a:t>
            </a:r>
            <a:r>
              <a:rPr lang="en-US" sz="2200" kern="0" dirty="0" smtClean="0"/>
              <a:t> de los enlaces</a:t>
            </a:r>
          </a:p>
          <a:p>
            <a:r>
              <a:rPr lang="en-US" sz="2200" kern="0" dirty="0" smtClean="0"/>
              <a:t>Para la </a:t>
            </a:r>
            <a:r>
              <a:rPr lang="en-US" sz="2200" kern="0" dirty="0" err="1" smtClean="0"/>
              <a:t>empresa</a:t>
            </a:r>
            <a:r>
              <a:rPr lang="en-US" sz="2200" kern="0" dirty="0" smtClean="0"/>
              <a:t> </a:t>
            </a:r>
            <a:r>
              <a:rPr lang="en-US" sz="2200" kern="0" dirty="0" err="1" smtClean="0"/>
              <a:t>originadora</a:t>
            </a:r>
            <a:r>
              <a:rPr lang="en-US" sz="2200" kern="0" dirty="0" smtClean="0"/>
              <a:t>, </a:t>
            </a:r>
            <a:r>
              <a:rPr lang="en-US" sz="2200" kern="0" dirty="0" err="1" smtClean="0"/>
              <a:t>que</a:t>
            </a:r>
            <a:r>
              <a:rPr lang="en-US" sz="2200" kern="0" dirty="0" smtClean="0"/>
              <a:t> </a:t>
            </a:r>
            <a:r>
              <a:rPr lang="en-US" sz="2200" kern="0" dirty="0" err="1" smtClean="0"/>
              <a:t>tiene</a:t>
            </a:r>
            <a:r>
              <a:rPr lang="en-US" sz="2200" kern="0" dirty="0" smtClean="0"/>
              <a:t> control de tan </a:t>
            </a:r>
            <a:r>
              <a:rPr lang="en-US" sz="2200" kern="0" dirty="0" err="1" smtClean="0"/>
              <a:t>sólo</a:t>
            </a:r>
            <a:r>
              <a:rPr lang="en-US" sz="2200" kern="0" dirty="0" smtClean="0"/>
              <a:t> un </a:t>
            </a:r>
            <a:r>
              <a:rPr lang="en-US" sz="2200" kern="0" dirty="0" err="1" smtClean="0"/>
              <a:t>tramo</a:t>
            </a:r>
            <a:r>
              <a:rPr lang="en-US" sz="2200" kern="0" dirty="0" smtClean="0"/>
              <a:t>, </a:t>
            </a:r>
            <a:r>
              <a:rPr lang="en-US" sz="2200" kern="0" dirty="0" err="1" smtClean="0"/>
              <a:t>es</a:t>
            </a:r>
            <a:r>
              <a:rPr lang="en-US" sz="2200" kern="0" dirty="0" smtClean="0"/>
              <a:t> </a:t>
            </a:r>
            <a:r>
              <a:rPr lang="en-US" sz="2200" kern="0" dirty="0" err="1" smtClean="0"/>
              <a:t>imposible</a:t>
            </a:r>
            <a:r>
              <a:rPr lang="en-US" sz="2200" kern="0" dirty="0" smtClean="0"/>
              <a:t> </a:t>
            </a:r>
            <a:r>
              <a:rPr lang="en-US" sz="2200" kern="0" dirty="0" err="1" smtClean="0"/>
              <a:t>controlar</a:t>
            </a:r>
            <a:r>
              <a:rPr lang="en-US" sz="2200" kern="0" dirty="0" smtClean="0"/>
              <a:t> la </a:t>
            </a:r>
            <a:r>
              <a:rPr lang="en-US" sz="2200" kern="0" dirty="0" err="1" smtClean="0"/>
              <a:t>calidad</a:t>
            </a:r>
            <a:r>
              <a:rPr lang="en-US" sz="2200" kern="0" dirty="0" smtClean="0"/>
              <a:t> de </a:t>
            </a:r>
            <a:r>
              <a:rPr lang="en-US" sz="2200" kern="0" dirty="0" err="1" smtClean="0"/>
              <a:t>extremo</a:t>
            </a:r>
            <a:r>
              <a:rPr lang="en-US" sz="2200" kern="0" dirty="0" smtClean="0"/>
              <a:t> a </a:t>
            </a:r>
            <a:r>
              <a:rPr lang="en-US" sz="2200" kern="0" dirty="0" err="1" smtClean="0"/>
              <a:t>extremo</a:t>
            </a:r>
            <a:endParaRPr lang="en-US" sz="2200" kern="0" dirty="0" smtClean="0"/>
          </a:p>
          <a:p>
            <a:r>
              <a:rPr lang="en-US" sz="2200" kern="0" dirty="0" smtClean="0"/>
              <a:t>Los </a:t>
            </a:r>
            <a:r>
              <a:rPr lang="en-US" sz="2200" kern="0" dirty="0" err="1" smtClean="0"/>
              <a:t>acuerdos</a:t>
            </a:r>
            <a:r>
              <a:rPr lang="en-US" sz="2200" kern="0" dirty="0" smtClean="0"/>
              <a:t> de </a:t>
            </a:r>
            <a:r>
              <a:rPr lang="en-US" sz="2200" kern="0" dirty="0" err="1" smtClean="0"/>
              <a:t>interconexión</a:t>
            </a:r>
            <a:r>
              <a:rPr lang="en-US" sz="2200" kern="0" dirty="0" smtClean="0"/>
              <a:t> </a:t>
            </a:r>
            <a:r>
              <a:rPr lang="en-US" sz="2200" kern="0" dirty="0" err="1" smtClean="0"/>
              <a:t>buscan</a:t>
            </a:r>
            <a:r>
              <a:rPr lang="en-US" sz="2200" kern="0" dirty="0" smtClean="0"/>
              <a:t> resolver </a:t>
            </a:r>
            <a:r>
              <a:rPr lang="en-US" sz="2200" kern="0" dirty="0" err="1" smtClean="0"/>
              <a:t>esto</a:t>
            </a:r>
            <a:r>
              <a:rPr lang="en-US" sz="2200" kern="0" dirty="0" smtClean="0"/>
              <a:t>:</a:t>
            </a:r>
          </a:p>
          <a:p>
            <a:pPr lvl="1"/>
            <a:r>
              <a:rPr lang="en-US" sz="2000" kern="0" dirty="0" smtClean="0"/>
              <a:t>Se </a:t>
            </a:r>
            <a:r>
              <a:rPr lang="en-US" sz="2000" kern="0" dirty="0" err="1" smtClean="0"/>
              <a:t>incluyen</a:t>
            </a:r>
            <a:r>
              <a:rPr lang="en-US" sz="2000" kern="0" dirty="0" smtClean="0"/>
              <a:t> </a:t>
            </a:r>
            <a:r>
              <a:rPr lang="en-US" sz="2000" kern="0" dirty="0" err="1" smtClean="0"/>
              <a:t>cláusulas</a:t>
            </a:r>
            <a:r>
              <a:rPr lang="en-US" sz="2000" kern="0" dirty="0" smtClean="0"/>
              <a:t> de </a:t>
            </a:r>
            <a:r>
              <a:rPr lang="en-US" sz="2000" kern="0" dirty="0" err="1" smtClean="0"/>
              <a:t>QoS</a:t>
            </a:r>
            <a:r>
              <a:rPr lang="en-US" sz="2000" kern="0" dirty="0" smtClean="0"/>
              <a:t> y de no </a:t>
            </a:r>
            <a:r>
              <a:rPr lang="en-US" sz="2000" kern="0" dirty="0" err="1" smtClean="0"/>
              <a:t>discriminación</a:t>
            </a:r>
            <a:endParaRPr lang="en-US" sz="2000" kern="0" dirty="0" smtClean="0"/>
          </a:p>
          <a:p>
            <a:pPr lvl="1"/>
            <a:r>
              <a:rPr lang="en-US" sz="2000" kern="0" dirty="0" smtClean="0"/>
              <a:t>En internet, </a:t>
            </a:r>
            <a:r>
              <a:rPr lang="en-US" sz="2000" kern="0" dirty="0" err="1" smtClean="0"/>
              <a:t>básicamente</a:t>
            </a:r>
            <a:r>
              <a:rPr lang="en-US" sz="2000" kern="0" dirty="0" smtClean="0"/>
              <a:t> </a:t>
            </a:r>
            <a:r>
              <a:rPr lang="en-US" sz="2000" kern="0" dirty="0" err="1" smtClean="0"/>
              <a:t>funciona</a:t>
            </a:r>
            <a:r>
              <a:rPr lang="en-US" sz="2000" kern="0" dirty="0" smtClean="0"/>
              <a:t> </a:t>
            </a:r>
            <a:r>
              <a:rPr lang="en-US" sz="2000" kern="0" dirty="0" err="1" smtClean="0"/>
              <a:t>bajo</a:t>
            </a:r>
            <a:r>
              <a:rPr lang="en-US" sz="2000" kern="0" dirty="0" smtClean="0"/>
              <a:t> “</a:t>
            </a:r>
            <a:r>
              <a:rPr lang="en-US" sz="2000" kern="0" dirty="0" err="1" smtClean="0"/>
              <a:t>mejores</a:t>
            </a:r>
            <a:r>
              <a:rPr lang="en-US" sz="2000" kern="0" dirty="0" smtClean="0"/>
              <a:t> </a:t>
            </a:r>
            <a:r>
              <a:rPr lang="en-US" sz="2000" kern="0" dirty="0" err="1" smtClean="0"/>
              <a:t>esfuerzos</a:t>
            </a:r>
            <a:r>
              <a:rPr lang="en-US" sz="2000" kern="0" dirty="0" smtClean="0"/>
              <a:t>”, </a:t>
            </a:r>
            <a:r>
              <a:rPr lang="en-US" sz="2000" kern="0" dirty="0" err="1" smtClean="0"/>
              <a:t>por</a:t>
            </a:r>
            <a:r>
              <a:rPr lang="en-US" sz="2000" kern="0" dirty="0" smtClean="0"/>
              <a:t> lo </a:t>
            </a:r>
            <a:r>
              <a:rPr lang="en-US" sz="2000" kern="0" dirty="0" err="1" smtClean="0"/>
              <a:t>que</a:t>
            </a:r>
            <a:r>
              <a:rPr lang="en-US" sz="2000" kern="0" dirty="0"/>
              <a:t> </a:t>
            </a:r>
            <a:r>
              <a:rPr lang="en-US" sz="2000" kern="0" dirty="0" smtClean="0"/>
              <a:t>los </a:t>
            </a:r>
            <a:r>
              <a:rPr lang="en-US" sz="2000" kern="0" dirty="0" err="1" smtClean="0"/>
              <a:t>acuerdos</a:t>
            </a:r>
            <a:r>
              <a:rPr lang="en-US" sz="2000" kern="0" dirty="0" smtClean="0"/>
              <a:t> </a:t>
            </a:r>
            <a:r>
              <a:rPr lang="en-US" sz="2000" kern="0" dirty="0" err="1" smtClean="0"/>
              <a:t>tienen</a:t>
            </a:r>
            <a:r>
              <a:rPr lang="en-US" sz="2000" kern="0" dirty="0" smtClean="0"/>
              <a:t> </a:t>
            </a:r>
            <a:r>
              <a:rPr lang="en-US" sz="2000" kern="0" dirty="0" err="1" smtClean="0"/>
              <a:t>menos</a:t>
            </a:r>
            <a:r>
              <a:rPr lang="en-US" sz="2000" kern="0" dirty="0" smtClean="0"/>
              <a:t> </a:t>
            </a:r>
            <a:r>
              <a:rPr lang="en-US" sz="2000" kern="0" dirty="0" err="1" smtClean="0"/>
              <a:t>efectos</a:t>
            </a:r>
            <a:endParaRPr lang="en-US" sz="2000" kern="0" dirty="0" smtClean="0"/>
          </a:p>
        </p:txBody>
      </p:sp>
    </p:spTree>
    <p:extLst>
      <p:ext uri="{BB962C8B-B14F-4D97-AF65-F5344CB8AC3E}">
        <p14:creationId xmlns:p14="http://schemas.microsoft.com/office/powerpoint/2010/main" val="3922341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28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asemos</a:t>
            </a:r>
            <a:r>
              <a:rPr lang="en-US" dirty="0" smtClean="0"/>
              <a:t> a </a:t>
            </a:r>
            <a:r>
              <a:rPr lang="en-US" dirty="0" err="1" smtClean="0"/>
              <a:t>juntar</a:t>
            </a:r>
            <a:r>
              <a:rPr lang="en-US" dirty="0" smtClean="0"/>
              <a:t> </a:t>
            </a:r>
            <a:r>
              <a:rPr lang="en-US" dirty="0" err="1" smtClean="0"/>
              <a:t>las</a:t>
            </a:r>
            <a:r>
              <a:rPr lang="en-US" dirty="0" smtClean="0"/>
              <a:t> ideas </a:t>
            </a:r>
            <a:r>
              <a:rPr lang="en-US" dirty="0" err="1" smtClean="0"/>
              <a:t>anteriores</a:t>
            </a:r>
            <a:r>
              <a:rPr lang="en-US" dirty="0" smtClean="0"/>
              <a:t> en </a:t>
            </a:r>
            <a:r>
              <a:rPr lang="en-US" dirty="0" err="1" smtClean="0"/>
              <a:t>una</a:t>
            </a:r>
            <a:r>
              <a:rPr lang="en-US" dirty="0" smtClean="0"/>
              <a:t> </a:t>
            </a:r>
            <a:r>
              <a:rPr lang="en-US" dirty="0" err="1" smtClean="0"/>
              <a:t>propuesta</a:t>
            </a:r>
            <a:r>
              <a:rPr lang="en-US" dirty="0" smtClean="0"/>
              <a:t> </a:t>
            </a:r>
            <a:r>
              <a:rPr lang="en-US" dirty="0" err="1" smtClean="0"/>
              <a:t>concreta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98171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7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7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7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7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29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</a:t>
            </a:r>
            <a:r>
              <a:rPr lang="en-US" dirty="0" err="1" smtClean="0"/>
              <a:t>odo</a:t>
            </a:r>
            <a:r>
              <a:rPr lang="en-US" dirty="0" smtClean="0"/>
              <a:t> </a:t>
            </a:r>
            <a:r>
              <a:rPr lang="en-US" dirty="0" err="1" smtClean="0"/>
              <a:t>proceso</a:t>
            </a:r>
            <a:r>
              <a:rPr lang="en-US" dirty="0" smtClean="0"/>
              <a:t> de </a:t>
            </a:r>
            <a:r>
              <a:rPr lang="en-US" dirty="0" err="1" smtClean="0"/>
              <a:t>QoS</a:t>
            </a:r>
            <a:r>
              <a:rPr lang="en-US" dirty="0" smtClean="0"/>
              <a:t> </a:t>
            </a:r>
            <a:r>
              <a:rPr lang="en-US" dirty="0" err="1" smtClean="0"/>
              <a:t>tiene</a:t>
            </a:r>
            <a:r>
              <a:rPr lang="en-US" dirty="0" smtClean="0"/>
              <a:t> 4 </a:t>
            </a:r>
            <a:r>
              <a:rPr lang="en-US" dirty="0" err="1" smtClean="0"/>
              <a:t>pasos</a:t>
            </a:r>
            <a:endParaRPr lang="en-US" dirty="0" smtClean="0"/>
          </a:p>
        </p:txBody>
      </p:sp>
      <p:sp>
        <p:nvSpPr>
          <p:cNvPr id="5" name="32 Pentágono"/>
          <p:cNvSpPr/>
          <p:nvPr/>
        </p:nvSpPr>
        <p:spPr>
          <a:xfrm>
            <a:off x="5868144" y="1700808"/>
            <a:ext cx="2016224" cy="1152128"/>
          </a:xfrm>
          <a:prstGeom prst="homePlate">
            <a:avLst>
              <a:gd name="adj" fmla="val 34601"/>
            </a:avLst>
          </a:prstGeom>
          <a:solidFill>
            <a:srgbClr val="322AD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6" name="31 Pentágono"/>
          <p:cNvSpPr/>
          <p:nvPr/>
        </p:nvSpPr>
        <p:spPr>
          <a:xfrm>
            <a:off x="4227952" y="1700808"/>
            <a:ext cx="2016224" cy="1152128"/>
          </a:xfrm>
          <a:prstGeom prst="homePlate">
            <a:avLst>
              <a:gd name="adj" fmla="val 32231"/>
            </a:avLst>
          </a:prstGeom>
          <a:solidFill>
            <a:srgbClr val="322AD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7" name="29 Pentágono"/>
          <p:cNvSpPr/>
          <p:nvPr/>
        </p:nvSpPr>
        <p:spPr>
          <a:xfrm>
            <a:off x="2386546" y="1700808"/>
            <a:ext cx="2232000" cy="1152128"/>
          </a:xfrm>
          <a:prstGeom prst="homePlate">
            <a:avLst>
              <a:gd name="adj" fmla="val 34601"/>
            </a:avLst>
          </a:prstGeom>
          <a:solidFill>
            <a:srgbClr val="322AD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8" name="26 Pentágono"/>
          <p:cNvSpPr/>
          <p:nvPr/>
        </p:nvSpPr>
        <p:spPr>
          <a:xfrm>
            <a:off x="755576" y="1700808"/>
            <a:ext cx="2016224" cy="1152128"/>
          </a:xfrm>
          <a:prstGeom prst="homePlate">
            <a:avLst>
              <a:gd name="adj" fmla="val 34601"/>
            </a:avLst>
          </a:prstGeom>
          <a:solidFill>
            <a:srgbClr val="322AD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72070" y="1860954"/>
            <a:ext cx="1296144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Definir qué se va a 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0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28170" y="1860954"/>
            <a:ext cx="1440000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Definir cómo se va a 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22856" y="2153341"/>
            <a:ext cx="1296144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2" name="Rectangle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39654" y="1860954"/>
            <a:ext cx="1296144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Publicar e informa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117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5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6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5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5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6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5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6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3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Comencemos</a:t>
            </a:r>
            <a:r>
              <a:rPr lang="en-US" dirty="0" smtClean="0"/>
              <a:t> con </a:t>
            </a:r>
            <a:r>
              <a:rPr lang="en-US" dirty="0" err="1" smtClean="0"/>
              <a:t>una</a:t>
            </a:r>
            <a:r>
              <a:rPr lang="en-US" dirty="0" smtClean="0"/>
              <a:t> </a:t>
            </a:r>
            <a:r>
              <a:rPr lang="en-US" dirty="0" err="1" smtClean="0"/>
              <a:t>gráfica</a:t>
            </a:r>
            <a:r>
              <a:rPr lang="en-US" dirty="0" smtClean="0"/>
              <a:t> </a:t>
            </a:r>
            <a:r>
              <a:rPr lang="en-US" dirty="0" err="1" smtClean="0"/>
              <a:t>sencilla</a:t>
            </a:r>
            <a:endParaRPr lang="en-US" dirty="0" smtClean="0"/>
          </a:p>
        </p:txBody>
      </p:sp>
      <p:graphicFrame>
        <p:nvGraphicFramePr>
          <p:cNvPr id="5" name="Grá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09204004"/>
              </p:ext>
            </p:extLst>
          </p:nvPr>
        </p:nvGraphicFramePr>
        <p:xfrm>
          <a:off x="888036" y="2025532"/>
          <a:ext cx="3420000" cy="45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Gráfico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7657358"/>
              </p:ext>
            </p:extLst>
          </p:nvPr>
        </p:nvGraphicFramePr>
        <p:xfrm>
          <a:off x="4383711" y="2025532"/>
          <a:ext cx="3420000" cy="45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951962" y="1155038"/>
            <a:ext cx="3373512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dirty="0" err="1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Accesos</a:t>
            </a:r>
            <a:r>
              <a:rPr lang="en-US" sz="1800" b="1" kern="0" dirty="0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 </a:t>
            </a:r>
            <a:r>
              <a:rPr lang="en-US" sz="1800" b="1" kern="0" dirty="0" err="1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por</a:t>
            </a:r>
            <a:r>
              <a:rPr lang="en-US" sz="1800" b="1" kern="0" dirty="0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 </a:t>
            </a:r>
            <a:r>
              <a:rPr lang="en-US" sz="1800" b="1" kern="0" dirty="0" err="1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cada</a:t>
            </a:r>
            <a:r>
              <a:rPr lang="en-US" sz="1800" b="1" kern="0" dirty="0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 100 </a:t>
            </a:r>
            <a:r>
              <a:rPr lang="en-US" sz="1800" b="1" kern="0" dirty="0" err="1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habitantes</a:t>
            </a:r>
            <a:endParaRPr lang="en-US" sz="1800" b="1" kern="0" dirty="0" smtClean="0">
              <a:solidFill>
                <a:srgbClr val="002960"/>
              </a:solidFill>
              <a:latin typeface="+mj-lt"/>
              <a:ea typeface="+mj-ea"/>
              <a:cs typeface="Arial" pitchFamily="34" charset="0"/>
            </a:endParaRPr>
          </a:p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 err="1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Diciembre</a:t>
            </a:r>
            <a:r>
              <a:rPr lang="en-US" sz="1400" kern="0" dirty="0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 2012</a:t>
            </a:r>
          </a:p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dirty="0" err="1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Porcentaje</a:t>
            </a:r>
            <a:endParaRPr kumimoji="0" lang="en-US" sz="1400" i="0" u="none" strike="noStrike" kern="0" cap="none" spc="0" normalizeH="0" baseline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8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207546" y="1155038"/>
            <a:ext cx="3384376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kern="0" dirty="0" err="1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Suscriptores</a:t>
            </a:r>
            <a:r>
              <a:rPr lang="en-US" sz="1800" b="1" kern="0" dirty="0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 </a:t>
            </a:r>
            <a:r>
              <a:rPr lang="en-US" sz="1800" b="1" kern="0" dirty="0" err="1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únicos</a:t>
            </a:r>
            <a:endParaRPr lang="en-US" sz="1800" b="1" kern="0" dirty="0" smtClean="0">
              <a:solidFill>
                <a:srgbClr val="002960"/>
              </a:solidFill>
              <a:latin typeface="+mj-lt"/>
              <a:ea typeface="+mj-ea"/>
              <a:cs typeface="Arial" pitchFamily="34" charset="0"/>
            </a:endParaRPr>
          </a:p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kern="0" dirty="0" err="1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Diciembre</a:t>
            </a:r>
            <a:r>
              <a:rPr lang="en-US" sz="1400" kern="0" dirty="0" smtClean="0">
                <a:solidFill>
                  <a:srgbClr val="002960"/>
                </a:solidFill>
                <a:latin typeface="+mj-lt"/>
                <a:ea typeface="+mj-ea"/>
                <a:cs typeface="Arial" pitchFamily="34" charset="0"/>
              </a:rPr>
              <a:t> 2012</a:t>
            </a:r>
          </a:p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dirty="0" err="1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Porcentaje</a:t>
            </a:r>
            <a:r>
              <a:rPr kumimoji="0" lang="en-US" sz="1400" i="0" u="none" strike="noStrike" kern="0" cap="none" spc="0" normalizeH="0" baseline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 de la </a:t>
            </a:r>
            <a:r>
              <a:rPr kumimoji="0" lang="en-US" sz="1400" i="0" u="none" strike="noStrike" kern="0" cap="none" spc="0" normalizeH="0" baseline="0" dirty="0" err="1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población</a:t>
            </a:r>
            <a:r>
              <a:rPr kumimoji="0" lang="en-US" sz="1400" i="0" u="none" strike="noStrike" kern="0" cap="none" spc="0" normalizeH="0" baseline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 con </a:t>
            </a:r>
            <a:r>
              <a:rPr kumimoji="0" lang="en-US" sz="1400" i="0" u="none" strike="noStrike" kern="0" cap="none" spc="0" normalizeH="0" baseline="0" dirty="0" err="1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telefóno</a:t>
            </a:r>
            <a:r>
              <a:rPr kumimoji="0" lang="en-US" sz="1400" i="0" u="none" strike="noStrike" kern="0" cap="none" spc="0" normalizeH="0" baseline="0" dirty="0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 </a:t>
            </a:r>
            <a:r>
              <a:rPr kumimoji="0" lang="en-US" sz="1400" i="0" u="none" strike="noStrike" kern="0" cap="none" spc="0" normalizeH="0" baseline="0" dirty="0" err="1" smtClean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+mj-lt"/>
                <a:ea typeface="+mj-ea"/>
                <a:cs typeface="Arial" pitchFamily="34" charset="0"/>
              </a:rPr>
              <a:t>móvil</a:t>
            </a:r>
            <a:endParaRPr kumimoji="0" lang="en-US" sz="1400" i="0" u="none" strike="noStrike" kern="0" cap="none" spc="0" normalizeH="0" baseline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005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7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7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7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7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30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imeramente</a:t>
            </a:r>
            <a:r>
              <a:rPr lang="en-US" dirty="0" smtClean="0"/>
              <a:t> se </a:t>
            </a:r>
            <a:r>
              <a:rPr lang="en-US" dirty="0" err="1" smtClean="0"/>
              <a:t>requiere</a:t>
            </a:r>
            <a:r>
              <a:rPr lang="en-US" dirty="0" smtClean="0"/>
              <a:t> de </a:t>
            </a:r>
            <a:r>
              <a:rPr lang="en-US" dirty="0" err="1" smtClean="0"/>
              <a:t>una</a:t>
            </a:r>
            <a:r>
              <a:rPr lang="en-US" dirty="0" smtClean="0"/>
              <a:t> </a:t>
            </a:r>
            <a:r>
              <a:rPr lang="en-US" dirty="0" err="1" smtClean="0"/>
              <a:t>definición</a:t>
            </a:r>
            <a:r>
              <a:rPr lang="en-US" dirty="0" smtClean="0"/>
              <a:t>: </a:t>
            </a:r>
            <a:r>
              <a:rPr lang="en-US" dirty="0" err="1" smtClean="0"/>
              <a:t>útil</a:t>
            </a:r>
            <a:r>
              <a:rPr lang="en-US" dirty="0" smtClean="0"/>
              <a:t>, </a:t>
            </a:r>
            <a:r>
              <a:rPr lang="en-US" dirty="0" err="1" smtClean="0"/>
              <a:t>informativa</a:t>
            </a:r>
            <a:r>
              <a:rPr lang="en-US" dirty="0" smtClean="0"/>
              <a:t>, </a:t>
            </a:r>
            <a:r>
              <a:rPr lang="en-US" dirty="0" err="1" smtClean="0"/>
              <a:t>realista</a:t>
            </a:r>
            <a:endParaRPr lang="en-US" dirty="0" smtClean="0"/>
          </a:p>
        </p:txBody>
      </p:sp>
      <p:sp>
        <p:nvSpPr>
          <p:cNvPr id="13" name="Text Box 27"/>
          <p:cNvSpPr txBox="1">
            <a:spLocks noChangeArrowheads="1"/>
          </p:cNvSpPr>
          <p:nvPr/>
        </p:nvSpPr>
        <p:spPr bwMode="gray">
          <a:xfrm>
            <a:off x="1000066" y="3182387"/>
            <a:ext cx="7066664" cy="32747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Definir </a:t>
            </a:r>
            <a:r>
              <a:rPr lang="es-MX" sz="1900" kern="0" dirty="0" err="1">
                <a:solidFill>
                  <a:schemeClr val="bg2"/>
                </a:solidFill>
                <a:latin typeface="+mn-lt"/>
                <a:sym typeface="Symbol"/>
              </a:rPr>
              <a:t>QoS</a:t>
            </a: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 y sus características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Definir indicadores y parámetros (un número pequeño y fácil de entender)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Acordar cuáles son los estándares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Alinear con </a:t>
            </a:r>
            <a:r>
              <a:rPr lang="es-MX" sz="1900" i="1" kern="0" dirty="0" err="1" smtClean="0">
                <a:solidFill>
                  <a:schemeClr val="bg2"/>
                </a:solidFill>
                <a:latin typeface="+mn-lt"/>
                <a:sym typeface="Symbol"/>
              </a:rPr>
              <a:t>benchmarks</a:t>
            </a:r>
            <a:r>
              <a:rPr lang="es-MX" sz="1900" kern="0" dirty="0" smtClean="0">
                <a:solidFill>
                  <a:schemeClr val="bg2"/>
                </a:solidFill>
                <a:latin typeface="+mn-lt"/>
                <a:sym typeface="Symbol"/>
              </a:rPr>
              <a:t>/indicadores internacionales</a:t>
            </a:r>
            <a:endParaRPr lang="es-MX" sz="1900" kern="0" dirty="0">
              <a:solidFill>
                <a:schemeClr val="bg2"/>
              </a:solidFill>
              <a:latin typeface="+mn-lt"/>
              <a:sym typeface="Symbol"/>
            </a:endParaRP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Establecer valores de </a:t>
            </a:r>
            <a:r>
              <a:rPr lang="es-MX" sz="1900" kern="0" dirty="0" smtClean="0">
                <a:solidFill>
                  <a:schemeClr val="bg2"/>
                </a:solidFill>
                <a:latin typeface="+mn-lt"/>
                <a:sym typeface="Symbol"/>
              </a:rPr>
              <a:t>referencia</a:t>
            </a:r>
            <a:endParaRPr lang="es-MX" sz="1900" kern="0" dirty="0">
              <a:solidFill>
                <a:schemeClr val="bg2"/>
              </a:solidFill>
              <a:latin typeface="+mn-lt"/>
              <a:sym typeface="Symbol"/>
            </a:endParaRP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Cuantificar el costo de cumplimiento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Definir proceso de revisión del conjunto de indicadores (puede variar con el </a:t>
            </a:r>
            <a:r>
              <a:rPr lang="es-MX" sz="1900" kern="0" dirty="0" smtClean="0">
                <a:solidFill>
                  <a:schemeClr val="bg2"/>
                </a:solidFill>
                <a:latin typeface="+mn-lt"/>
                <a:sym typeface="Symbol"/>
              </a:rPr>
              <a:t>tiempo, especialmente para servicios de datos)</a:t>
            </a:r>
            <a:endParaRPr lang="es-MX" sz="1900" kern="0" dirty="0">
              <a:solidFill>
                <a:schemeClr val="bg2"/>
              </a:solidFill>
              <a:latin typeface="+mn-lt"/>
              <a:sym typeface="Symbol"/>
            </a:endParaRPr>
          </a:p>
        </p:txBody>
      </p:sp>
      <p:sp>
        <p:nvSpPr>
          <p:cNvPr id="15" name="32 Pentágono"/>
          <p:cNvSpPr/>
          <p:nvPr/>
        </p:nvSpPr>
        <p:spPr>
          <a:xfrm>
            <a:off x="5868144" y="1700808"/>
            <a:ext cx="2016224" cy="1152128"/>
          </a:xfrm>
          <a:prstGeom prst="homePlate">
            <a:avLst>
              <a:gd name="adj" fmla="val 34601"/>
            </a:avLst>
          </a:prstGeom>
          <a:solidFill>
            <a:srgbClr val="33CC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16" name="31 Pentágono"/>
          <p:cNvSpPr/>
          <p:nvPr/>
        </p:nvSpPr>
        <p:spPr>
          <a:xfrm>
            <a:off x="4227952" y="1700808"/>
            <a:ext cx="2016224" cy="1152128"/>
          </a:xfrm>
          <a:prstGeom prst="homePlate">
            <a:avLst>
              <a:gd name="adj" fmla="val 32231"/>
            </a:avLst>
          </a:prstGeom>
          <a:solidFill>
            <a:srgbClr val="33CC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17" name="29 Pentágono"/>
          <p:cNvSpPr/>
          <p:nvPr/>
        </p:nvSpPr>
        <p:spPr>
          <a:xfrm>
            <a:off x="2386546" y="1700808"/>
            <a:ext cx="2232000" cy="1152128"/>
          </a:xfrm>
          <a:prstGeom prst="homePlate">
            <a:avLst>
              <a:gd name="adj" fmla="val 34601"/>
            </a:avLst>
          </a:prstGeom>
          <a:solidFill>
            <a:srgbClr val="33CC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18" name="26 Pentágono"/>
          <p:cNvSpPr/>
          <p:nvPr/>
        </p:nvSpPr>
        <p:spPr>
          <a:xfrm>
            <a:off x="755576" y="1700808"/>
            <a:ext cx="2016224" cy="1152128"/>
          </a:xfrm>
          <a:prstGeom prst="homePlate">
            <a:avLst>
              <a:gd name="adj" fmla="val 34601"/>
            </a:avLst>
          </a:prstGeom>
          <a:solidFill>
            <a:srgbClr val="322AD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1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72070" y="1860954"/>
            <a:ext cx="1296144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Definir qué se va a 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0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28170" y="1860954"/>
            <a:ext cx="1440000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Definir cómo se va a 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1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22856" y="2153341"/>
            <a:ext cx="1296144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2" name="Rectangle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39654" y="1860954"/>
            <a:ext cx="1296144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Publicar e informa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cxnSp>
        <p:nvCxnSpPr>
          <p:cNvPr id="23" name="19 Conector recto"/>
          <p:cNvCxnSpPr/>
          <p:nvPr/>
        </p:nvCxnSpPr>
        <p:spPr>
          <a:xfrm>
            <a:off x="776172" y="2810324"/>
            <a:ext cx="0" cy="3600000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21 Conector recto"/>
          <p:cNvCxnSpPr/>
          <p:nvPr/>
        </p:nvCxnSpPr>
        <p:spPr>
          <a:xfrm>
            <a:off x="2333052" y="2824838"/>
            <a:ext cx="6055372" cy="243688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22 Conector recto"/>
          <p:cNvCxnSpPr/>
          <p:nvPr/>
        </p:nvCxnSpPr>
        <p:spPr>
          <a:xfrm>
            <a:off x="8388424" y="3068526"/>
            <a:ext cx="0" cy="3276000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3441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31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ropuesta</a:t>
            </a:r>
            <a:r>
              <a:rPr lang="en-US" dirty="0" smtClean="0"/>
              <a:t> de </a:t>
            </a:r>
            <a:r>
              <a:rPr lang="en-US" dirty="0" err="1" smtClean="0"/>
              <a:t>abordaje</a:t>
            </a:r>
            <a:r>
              <a:rPr lang="en-US" dirty="0" smtClean="0"/>
              <a:t>: </a:t>
            </a:r>
            <a:br>
              <a:rPr lang="en-US" dirty="0" smtClean="0"/>
            </a:br>
            <a:r>
              <a:rPr lang="en-US" dirty="0" err="1" smtClean="0"/>
              <a:t>Regulación</a:t>
            </a:r>
            <a:r>
              <a:rPr lang="en-US" dirty="0" smtClean="0"/>
              <a:t> </a:t>
            </a:r>
            <a:r>
              <a:rPr lang="en-US" dirty="0" err="1" smtClean="0"/>
              <a:t>por</a:t>
            </a:r>
            <a:r>
              <a:rPr lang="en-US" dirty="0" smtClean="0"/>
              <a:t> </a:t>
            </a:r>
            <a:r>
              <a:rPr lang="en-US" dirty="0" err="1" smtClean="0"/>
              <a:t>comparación</a:t>
            </a:r>
            <a:endParaRPr lang="en-US" dirty="0" smtClean="0"/>
          </a:p>
        </p:txBody>
      </p:sp>
      <p:sp>
        <p:nvSpPr>
          <p:cNvPr id="40" name="Text Box 27"/>
          <p:cNvSpPr txBox="1">
            <a:spLocks noChangeArrowheads="1"/>
          </p:cNvSpPr>
          <p:nvPr/>
        </p:nvSpPr>
        <p:spPr bwMode="gray">
          <a:xfrm>
            <a:off x="553501" y="1257452"/>
            <a:ext cx="8236816" cy="52198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3"/>
              </a:buBlip>
            </a:pPr>
            <a:r>
              <a:rPr lang="es-MX" sz="2000" kern="0" dirty="0" smtClean="0">
                <a:solidFill>
                  <a:schemeClr val="bg2"/>
                </a:solidFill>
                <a:latin typeface="+mn-lt"/>
                <a:sym typeface="Symbol"/>
              </a:rPr>
              <a:t>Acordar formalmente, </a:t>
            </a:r>
            <a:r>
              <a:rPr lang="es-MX" sz="2000" kern="0" dirty="0" smtClean="0">
                <a:solidFill>
                  <a:schemeClr val="bg2"/>
                </a:solidFill>
                <a:latin typeface="+mn-lt"/>
                <a:sym typeface="Symbol"/>
              </a:rPr>
              <a:t>a nivel regional, un pequeño número de indicadores de calidad </a:t>
            </a:r>
            <a:r>
              <a:rPr lang="es-MX" sz="2000" kern="0" dirty="0" smtClean="0">
                <a:solidFill>
                  <a:schemeClr val="bg2"/>
                </a:solidFill>
                <a:latin typeface="+mn-lt"/>
                <a:sym typeface="Symbol"/>
              </a:rPr>
              <a:t>relevantes (un compromiso-MOU)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3"/>
              </a:buBlip>
            </a:pPr>
            <a:r>
              <a:rPr lang="es-MX" sz="2000" kern="0" dirty="0" smtClean="0">
                <a:solidFill>
                  <a:schemeClr val="bg2"/>
                </a:solidFill>
                <a:latin typeface="+mn-lt"/>
                <a:sym typeface="Symbol"/>
              </a:rPr>
              <a:t>Definirlos de manera conjunta entre autoridades, operadores, OEM y representantes de usuarios</a:t>
            </a:r>
            <a:r>
              <a:rPr lang="es-MX" sz="2000" kern="0" dirty="0" smtClean="0">
                <a:solidFill>
                  <a:schemeClr val="bg2"/>
                </a:solidFill>
                <a:latin typeface="+mn-lt"/>
                <a:sym typeface="Symbol"/>
              </a:rPr>
              <a:t> </a:t>
            </a:r>
            <a:endParaRPr lang="es-MX" sz="2000" kern="0" dirty="0" smtClean="0">
              <a:solidFill>
                <a:schemeClr val="bg2"/>
              </a:solidFill>
              <a:latin typeface="+mn-lt"/>
              <a:sym typeface="Symbol"/>
            </a:endParaRP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3"/>
              </a:buBlip>
            </a:pPr>
            <a:r>
              <a:rPr lang="es-MX" sz="2000" kern="0" dirty="0" smtClean="0">
                <a:solidFill>
                  <a:schemeClr val="bg2"/>
                </a:solidFill>
                <a:latin typeface="+mn-lt"/>
                <a:sym typeface="Symbol"/>
              </a:rPr>
              <a:t>Los indicadores deberían ser:</a:t>
            </a:r>
          </a:p>
          <a:p>
            <a:pPr marL="742950" lvl="1" indent="-285750">
              <a:spcBef>
                <a:spcPct val="20000"/>
              </a:spcBef>
              <a:buClr>
                <a:schemeClr val="tx1"/>
              </a:buClr>
              <a:buSzPct val="70000"/>
              <a:buBlip>
                <a:blip r:embed="rId4"/>
              </a:buBlip>
            </a:pPr>
            <a:r>
              <a:rPr lang="es-MX" sz="1800" dirty="0">
                <a:solidFill>
                  <a:schemeClr val="bg2"/>
                </a:solidFill>
                <a:latin typeface="+mn-lt"/>
                <a:sym typeface="Symbol"/>
              </a:rPr>
              <a:t>Fáciles de medir</a:t>
            </a:r>
          </a:p>
          <a:p>
            <a:pPr marL="742950" lvl="1" indent="-285750">
              <a:spcBef>
                <a:spcPct val="20000"/>
              </a:spcBef>
              <a:buClr>
                <a:schemeClr val="tx1"/>
              </a:buClr>
              <a:buSzPct val="70000"/>
              <a:buBlip>
                <a:blip r:embed="rId4"/>
              </a:buBlip>
            </a:pPr>
            <a:r>
              <a:rPr lang="es-MX" sz="1800" dirty="0">
                <a:solidFill>
                  <a:schemeClr val="bg2"/>
                </a:solidFill>
                <a:latin typeface="+mn-lt"/>
                <a:sym typeface="Symbol"/>
              </a:rPr>
              <a:t>Fáciles de entender</a:t>
            </a:r>
          </a:p>
          <a:p>
            <a:pPr marL="742950" lvl="1" indent="-285750">
              <a:spcBef>
                <a:spcPct val="20000"/>
              </a:spcBef>
              <a:buClr>
                <a:schemeClr val="tx1"/>
              </a:buClr>
              <a:buSzPct val="70000"/>
              <a:buBlip>
                <a:blip r:embed="rId4"/>
              </a:buBlip>
            </a:pPr>
            <a:r>
              <a:rPr lang="es-MX" sz="1800" dirty="0">
                <a:solidFill>
                  <a:schemeClr val="bg2"/>
                </a:solidFill>
                <a:latin typeface="+mn-lt"/>
                <a:sym typeface="Symbol"/>
              </a:rPr>
              <a:t>Fáciles de comunicar</a:t>
            </a:r>
          </a:p>
          <a:p>
            <a:pPr marL="742950" lvl="1" indent="-285750">
              <a:spcBef>
                <a:spcPct val="20000"/>
              </a:spcBef>
              <a:buClr>
                <a:schemeClr val="tx1"/>
              </a:buClr>
              <a:buSzPct val="70000"/>
              <a:buBlip>
                <a:blip r:embed="rId4"/>
              </a:buBlip>
            </a:pPr>
            <a:r>
              <a:rPr lang="es-MX" sz="1800" dirty="0">
                <a:solidFill>
                  <a:schemeClr val="bg2"/>
                </a:solidFill>
                <a:latin typeface="+mn-lt"/>
                <a:sym typeface="Symbol"/>
              </a:rPr>
              <a:t>Relacionados con las necesidades de los usuarios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3"/>
              </a:buBlip>
            </a:pPr>
            <a:r>
              <a:rPr lang="es-MX" sz="2000" kern="0" dirty="0" smtClean="0">
                <a:solidFill>
                  <a:schemeClr val="bg2"/>
                </a:solidFill>
                <a:latin typeface="+mn-lt"/>
                <a:sym typeface="Symbol"/>
              </a:rPr>
              <a:t>Los indicadores deberían ser idénticos para todos los países (19 en América Latina):</a:t>
            </a:r>
          </a:p>
          <a:p>
            <a:pPr marL="742950" lvl="1" indent="-285750">
              <a:spcBef>
                <a:spcPct val="20000"/>
              </a:spcBef>
              <a:buClr>
                <a:schemeClr val="tx1"/>
              </a:buClr>
              <a:buSzPct val="70000"/>
              <a:buBlip>
                <a:blip r:embed="rId4"/>
              </a:buBlip>
            </a:pPr>
            <a:r>
              <a:rPr lang="es-MX" sz="1800" dirty="0">
                <a:solidFill>
                  <a:schemeClr val="bg2"/>
                </a:solidFill>
                <a:latin typeface="+mn-lt"/>
                <a:sym typeface="Symbol"/>
              </a:rPr>
              <a:t>Generan una base importante de comparación</a:t>
            </a:r>
          </a:p>
          <a:p>
            <a:pPr marL="742950" lvl="1" indent="-285750">
              <a:spcBef>
                <a:spcPct val="20000"/>
              </a:spcBef>
              <a:buClr>
                <a:schemeClr val="tx1"/>
              </a:buClr>
              <a:buSzPct val="70000"/>
              <a:buBlip>
                <a:blip r:embed="rId4"/>
              </a:buBlip>
            </a:pPr>
            <a:r>
              <a:rPr lang="es-MX" sz="1800" dirty="0">
                <a:solidFill>
                  <a:schemeClr val="bg2"/>
                </a:solidFill>
                <a:latin typeface="+mn-lt"/>
                <a:sym typeface="Symbol"/>
              </a:rPr>
              <a:t>Exponen a los “ofensores”</a:t>
            </a:r>
          </a:p>
          <a:p>
            <a:pPr marL="742950" lvl="1" indent="-285750">
              <a:spcBef>
                <a:spcPct val="20000"/>
              </a:spcBef>
              <a:buClr>
                <a:schemeClr val="tx1"/>
              </a:buClr>
              <a:buSzPct val="70000"/>
              <a:buBlip>
                <a:blip r:embed="rId4"/>
              </a:buBlip>
            </a:pPr>
            <a:r>
              <a:rPr lang="es-MX" sz="1800" dirty="0">
                <a:solidFill>
                  <a:schemeClr val="bg2"/>
                </a:solidFill>
                <a:latin typeface="+mn-lt"/>
                <a:sym typeface="Symbol"/>
              </a:rPr>
              <a:t>Permiten alcanzar economías de escala: Las operadoras pueden tener procesos estandarizados </a:t>
            </a:r>
            <a:r>
              <a:rPr lang="es-MX" sz="1800" dirty="0" smtClean="0">
                <a:solidFill>
                  <a:schemeClr val="bg2"/>
                </a:solidFill>
                <a:latin typeface="+mn-lt"/>
                <a:sym typeface="Symbol"/>
              </a:rPr>
              <a:t>a lo largo de sus operaciones, </a:t>
            </a:r>
            <a:r>
              <a:rPr lang="es-MX" sz="1800" dirty="0">
                <a:solidFill>
                  <a:schemeClr val="bg2"/>
                </a:solidFill>
                <a:latin typeface="+mn-lt"/>
                <a:sym typeface="Symbol"/>
              </a:rPr>
              <a:t>lo que se traduce en reducción de </a:t>
            </a:r>
            <a:r>
              <a:rPr lang="es-MX" sz="1800" dirty="0" smtClean="0">
                <a:solidFill>
                  <a:schemeClr val="bg2"/>
                </a:solidFill>
                <a:latin typeface="+mn-lt"/>
                <a:sym typeface="Symbol"/>
              </a:rPr>
              <a:t>costos</a:t>
            </a:r>
          </a:p>
        </p:txBody>
      </p:sp>
    </p:spTree>
    <p:extLst>
      <p:ext uri="{BB962C8B-B14F-4D97-AF65-F5344CB8AC3E}">
        <p14:creationId xmlns:p14="http://schemas.microsoft.com/office/powerpoint/2010/main" val="3419833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18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9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18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1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18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9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18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1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1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32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Regulación</a:t>
            </a:r>
            <a:r>
              <a:rPr lang="en-US" dirty="0" smtClean="0"/>
              <a:t> </a:t>
            </a:r>
            <a:r>
              <a:rPr lang="en-US" dirty="0" err="1" smtClean="0"/>
              <a:t>por</a:t>
            </a:r>
            <a:r>
              <a:rPr lang="en-US" dirty="0" smtClean="0"/>
              <a:t> </a:t>
            </a:r>
            <a:r>
              <a:rPr lang="en-US" dirty="0" err="1" smtClean="0"/>
              <a:t>comparación</a:t>
            </a:r>
            <a:r>
              <a:rPr lang="en-US" dirty="0" smtClean="0"/>
              <a:t>: </a:t>
            </a:r>
            <a:br>
              <a:rPr lang="en-US" dirty="0" smtClean="0"/>
            </a:br>
            <a:r>
              <a:rPr lang="en-US" dirty="0" err="1" smtClean="0"/>
              <a:t>Permite</a:t>
            </a:r>
            <a:r>
              <a:rPr lang="en-US" dirty="0" smtClean="0"/>
              <a:t> </a:t>
            </a:r>
            <a:r>
              <a:rPr lang="en-US" dirty="0" err="1" smtClean="0"/>
              <a:t>entender</a:t>
            </a:r>
            <a:r>
              <a:rPr lang="en-US" dirty="0" smtClean="0"/>
              <a:t> la </a:t>
            </a:r>
            <a:r>
              <a:rPr lang="en-US" dirty="0" err="1" smtClean="0"/>
              <a:t>posición</a:t>
            </a:r>
            <a:r>
              <a:rPr lang="en-US" dirty="0" smtClean="0"/>
              <a:t> </a:t>
            </a:r>
            <a:r>
              <a:rPr lang="en-US" dirty="0" err="1" smtClean="0"/>
              <a:t>relativa</a:t>
            </a:r>
            <a:endParaRPr lang="en-US" dirty="0" smtClean="0"/>
          </a:p>
        </p:txBody>
      </p:sp>
      <p:sp>
        <p:nvSpPr>
          <p:cNvPr id="2" name="Flecha abajo 1"/>
          <p:cNvSpPr/>
          <p:nvPr/>
        </p:nvSpPr>
        <p:spPr bwMode="auto">
          <a:xfrm>
            <a:off x="1092476" y="3532622"/>
            <a:ext cx="1080000" cy="2590828"/>
          </a:xfrm>
          <a:prstGeom prst="down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" name="Flecha derecha 2"/>
          <p:cNvSpPr/>
          <p:nvPr/>
        </p:nvSpPr>
        <p:spPr bwMode="auto">
          <a:xfrm>
            <a:off x="2193658" y="1234519"/>
            <a:ext cx="5412011" cy="108000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MX" sz="3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6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75128" y="1628757"/>
            <a:ext cx="1764076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600" b="1" kern="0" dirty="0" smtClean="0">
                <a:latin typeface="+mj-lt"/>
                <a:ea typeface="+mj-ea"/>
                <a:cs typeface="Arial" pitchFamily="34" charset="0"/>
              </a:rPr>
              <a:t>Dimensión país</a:t>
            </a:r>
            <a:endParaRPr kumimoji="0" lang="es-MX" sz="16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7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 rot="16200000" flipH="1">
            <a:off x="753318" y="4362759"/>
            <a:ext cx="176407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600" b="1" kern="0" dirty="0" smtClean="0">
                <a:latin typeface="+mj-lt"/>
                <a:ea typeface="+mj-ea"/>
                <a:cs typeface="Arial" pitchFamily="34" charset="0"/>
              </a:rPr>
              <a:t>Dimensión regional</a:t>
            </a:r>
            <a:endParaRPr kumimoji="0" lang="es-MX" sz="16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8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258053" y="3578872"/>
            <a:ext cx="117154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País 1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9" name="Rectangle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58053" y="3808546"/>
            <a:ext cx="117154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País 2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0" name="Rectangle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258053" y="4038220"/>
            <a:ext cx="117154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País 3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1" name="Rectangle 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258053" y="4267894"/>
            <a:ext cx="117154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País 4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2" name="Rectangle 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2258053" y="4497568"/>
            <a:ext cx="117154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País 5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3" name="Rectangle 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258053" y="5352270"/>
            <a:ext cx="117154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País 19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4" name="Rectangle 4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 rot="5400000">
            <a:off x="1821465" y="5180564"/>
            <a:ext cx="117154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2600" b="1" kern="0" dirty="0" smtClean="0">
                <a:latin typeface="+mj-lt"/>
                <a:ea typeface="+mj-ea"/>
                <a:cs typeface="Arial" pitchFamily="34" charset="0"/>
              </a:rPr>
              <a:t>…</a:t>
            </a:r>
            <a:endParaRPr kumimoji="0" lang="es-MX" sz="26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5" name="Rectangle 4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 rot="16200000">
            <a:off x="2957081" y="2595348"/>
            <a:ext cx="13681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Operadora A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6" name="Rectangle 4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gray">
          <a:xfrm rot="16200000">
            <a:off x="3676157" y="2595348"/>
            <a:ext cx="13681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Operadora B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7" name="Rectangle 4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16200000">
            <a:off x="4408112" y="2595348"/>
            <a:ext cx="13681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Operadora C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8" name="Rectangle 4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gray">
          <a:xfrm rot="16200000">
            <a:off x="5619891" y="2595348"/>
            <a:ext cx="136815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400" b="1" kern="0" dirty="0" smtClean="0">
                <a:latin typeface="+mj-lt"/>
                <a:ea typeface="+mj-ea"/>
                <a:cs typeface="Arial" pitchFamily="34" charset="0"/>
              </a:rPr>
              <a:t>Operadora N</a:t>
            </a:r>
            <a:endParaRPr kumimoji="0" lang="es-MX" sz="14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29" name="Rectangle 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5454817" y="2379034"/>
            <a:ext cx="1171543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2600" b="1" kern="0" dirty="0" smtClean="0">
                <a:latin typeface="+mj-lt"/>
                <a:ea typeface="+mj-ea"/>
                <a:cs typeface="Arial" pitchFamily="34" charset="0"/>
              </a:rPr>
              <a:t>…</a:t>
            </a:r>
            <a:endParaRPr kumimoji="0" lang="es-MX" sz="2600" b="1" i="0" u="none" strike="noStrike" kern="0" cap="none" spc="0" normalizeH="0" baseline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cxnSp>
        <p:nvCxnSpPr>
          <p:cNvPr id="14" name="Conector recto 13"/>
          <p:cNvCxnSpPr/>
          <p:nvPr/>
        </p:nvCxnSpPr>
        <p:spPr bwMode="auto">
          <a:xfrm>
            <a:off x="3260058" y="3531162"/>
            <a:ext cx="0" cy="25445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Conector recto 29"/>
          <p:cNvCxnSpPr/>
          <p:nvPr/>
        </p:nvCxnSpPr>
        <p:spPr bwMode="auto">
          <a:xfrm>
            <a:off x="3275856" y="3532622"/>
            <a:ext cx="34563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Conector recto 33"/>
          <p:cNvCxnSpPr/>
          <p:nvPr/>
        </p:nvCxnSpPr>
        <p:spPr bwMode="auto">
          <a:xfrm>
            <a:off x="3967831" y="3531162"/>
            <a:ext cx="0" cy="25445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Conector recto 34"/>
          <p:cNvCxnSpPr/>
          <p:nvPr/>
        </p:nvCxnSpPr>
        <p:spPr bwMode="auto">
          <a:xfrm>
            <a:off x="4713669" y="3531162"/>
            <a:ext cx="0" cy="25445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6" name="Conector recto 35"/>
          <p:cNvCxnSpPr/>
          <p:nvPr/>
        </p:nvCxnSpPr>
        <p:spPr bwMode="auto">
          <a:xfrm>
            <a:off x="5991668" y="3531162"/>
            <a:ext cx="0" cy="25445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Conector recto 36"/>
          <p:cNvCxnSpPr/>
          <p:nvPr/>
        </p:nvCxnSpPr>
        <p:spPr bwMode="auto">
          <a:xfrm>
            <a:off x="6732240" y="3531162"/>
            <a:ext cx="0" cy="25445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Conector recto 37"/>
          <p:cNvCxnSpPr/>
          <p:nvPr/>
        </p:nvCxnSpPr>
        <p:spPr bwMode="auto">
          <a:xfrm>
            <a:off x="5477080" y="3532622"/>
            <a:ext cx="0" cy="2544578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Conector recto 38"/>
          <p:cNvCxnSpPr/>
          <p:nvPr/>
        </p:nvCxnSpPr>
        <p:spPr bwMode="auto">
          <a:xfrm>
            <a:off x="3275856" y="3780557"/>
            <a:ext cx="34563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Conector recto 40"/>
          <p:cNvCxnSpPr/>
          <p:nvPr/>
        </p:nvCxnSpPr>
        <p:spPr bwMode="auto">
          <a:xfrm>
            <a:off x="3275856" y="4017073"/>
            <a:ext cx="34563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Conector recto 41"/>
          <p:cNvCxnSpPr/>
          <p:nvPr/>
        </p:nvCxnSpPr>
        <p:spPr bwMode="auto">
          <a:xfrm>
            <a:off x="3275856" y="4258855"/>
            <a:ext cx="34563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Conector recto 42"/>
          <p:cNvCxnSpPr/>
          <p:nvPr/>
        </p:nvCxnSpPr>
        <p:spPr bwMode="auto">
          <a:xfrm>
            <a:off x="3275856" y="4482492"/>
            <a:ext cx="34563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Conector recto 43"/>
          <p:cNvCxnSpPr/>
          <p:nvPr/>
        </p:nvCxnSpPr>
        <p:spPr bwMode="auto">
          <a:xfrm>
            <a:off x="3275856" y="4716661"/>
            <a:ext cx="34563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Conector recto 44"/>
          <p:cNvCxnSpPr/>
          <p:nvPr/>
        </p:nvCxnSpPr>
        <p:spPr bwMode="auto">
          <a:xfrm>
            <a:off x="3260058" y="6075740"/>
            <a:ext cx="345638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46" name="Grupo 45"/>
          <p:cNvGrpSpPr/>
          <p:nvPr/>
        </p:nvGrpSpPr>
        <p:grpSpPr>
          <a:xfrm>
            <a:off x="7617039" y="1163344"/>
            <a:ext cx="1149376" cy="185246"/>
            <a:chOff x="7617039" y="1163344"/>
            <a:chExt cx="1149376" cy="185246"/>
          </a:xfrm>
        </p:grpSpPr>
        <p:sp>
          <p:nvSpPr>
            <p:cNvPr id="47" name="Rectangle 4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7617039" y="1163924"/>
              <a:ext cx="1149376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1200" i="1" kern="0" dirty="0" smtClean="0">
                  <a:latin typeface="+mj-lt"/>
                  <a:ea typeface="+mj-ea"/>
                  <a:cs typeface="Arial" pitchFamily="34" charset="0"/>
                </a:rPr>
                <a:t>ILUSTRATIVO</a:t>
              </a:r>
              <a:endParaRPr kumimoji="0" lang="es-MX" sz="1200" i="1" u="none" strike="noStrike" kern="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  <p:cxnSp>
          <p:nvCxnSpPr>
            <p:cNvPr id="48" name="Conector recto 47"/>
            <p:cNvCxnSpPr/>
            <p:nvPr/>
          </p:nvCxnSpPr>
          <p:spPr>
            <a:xfrm>
              <a:off x="7646030" y="1163344"/>
              <a:ext cx="10584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recto 48"/>
            <p:cNvCxnSpPr/>
            <p:nvPr/>
          </p:nvCxnSpPr>
          <p:spPr>
            <a:xfrm>
              <a:off x="7646030" y="1338424"/>
              <a:ext cx="10584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88551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7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7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7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7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33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osteriormente</a:t>
            </a:r>
            <a:r>
              <a:rPr lang="en-US" dirty="0" smtClean="0"/>
              <a:t> </a:t>
            </a:r>
            <a:r>
              <a:rPr lang="en-US" dirty="0" err="1" smtClean="0"/>
              <a:t>definir</a:t>
            </a:r>
            <a:r>
              <a:rPr lang="en-US" dirty="0" smtClean="0"/>
              <a:t> </a:t>
            </a:r>
            <a:r>
              <a:rPr lang="en-US" dirty="0" err="1" smtClean="0"/>
              <a:t>cómo</a:t>
            </a:r>
            <a:r>
              <a:rPr lang="en-US" dirty="0" smtClean="0"/>
              <a:t> se </a:t>
            </a:r>
            <a:r>
              <a:rPr lang="en-US" dirty="0" err="1" smtClean="0"/>
              <a:t>mide</a:t>
            </a:r>
            <a:r>
              <a:rPr lang="en-US" dirty="0" smtClean="0"/>
              <a:t>: </a:t>
            </a:r>
            <a:r>
              <a:rPr lang="en-US" dirty="0" err="1" smtClean="0"/>
              <a:t>Procesos</a:t>
            </a:r>
            <a:r>
              <a:rPr lang="en-US" dirty="0" smtClean="0"/>
              <a:t> </a:t>
            </a:r>
            <a:r>
              <a:rPr lang="en-US" dirty="0" err="1" smtClean="0"/>
              <a:t>estandarizados</a:t>
            </a:r>
            <a:endParaRPr lang="en-US" dirty="0" smtClean="0"/>
          </a:p>
        </p:txBody>
      </p:sp>
      <p:sp>
        <p:nvSpPr>
          <p:cNvPr id="5" name="32 Pentágono"/>
          <p:cNvSpPr/>
          <p:nvPr/>
        </p:nvSpPr>
        <p:spPr>
          <a:xfrm>
            <a:off x="5868144" y="1700808"/>
            <a:ext cx="2016224" cy="1152128"/>
          </a:xfrm>
          <a:prstGeom prst="homePlate">
            <a:avLst>
              <a:gd name="adj" fmla="val 34601"/>
            </a:avLst>
          </a:prstGeom>
          <a:solidFill>
            <a:srgbClr val="33CC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6" name="31 Pentágono"/>
          <p:cNvSpPr/>
          <p:nvPr/>
        </p:nvSpPr>
        <p:spPr>
          <a:xfrm>
            <a:off x="4227952" y="1700808"/>
            <a:ext cx="2016224" cy="1152128"/>
          </a:xfrm>
          <a:prstGeom prst="homePlate">
            <a:avLst>
              <a:gd name="adj" fmla="val 32231"/>
            </a:avLst>
          </a:prstGeom>
          <a:solidFill>
            <a:srgbClr val="33CC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7" name="29 Pentágono"/>
          <p:cNvSpPr/>
          <p:nvPr/>
        </p:nvSpPr>
        <p:spPr>
          <a:xfrm>
            <a:off x="2386546" y="1700808"/>
            <a:ext cx="2232000" cy="1152128"/>
          </a:xfrm>
          <a:prstGeom prst="homePlate">
            <a:avLst>
              <a:gd name="adj" fmla="val 34601"/>
            </a:avLst>
          </a:prstGeom>
          <a:solidFill>
            <a:srgbClr val="322AD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8" name="26 Pentágono"/>
          <p:cNvSpPr/>
          <p:nvPr/>
        </p:nvSpPr>
        <p:spPr>
          <a:xfrm>
            <a:off x="755576" y="1700808"/>
            <a:ext cx="2016224" cy="1152128"/>
          </a:xfrm>
          <a:prstGeom prst="homePlate">
            <a:avLst>
              <a:gd name="adj" fmla="val 34601"/>
            </a:avLst>
          </a:prstGeom>
          <a:solidFill>
            <a:srgbClr val="33CC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72070" y="1860954"/>
            <a:ext cx="1296144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Definir qué se va a 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0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28170" y="1860954"/>
            <a:ext cx="1440000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Definir cómo se va a 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22856" y="2153341"/>
            <a:ext cx="1296144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2" name="Rectangle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39654" y="1860954"/>
            <a:ext cx="1296144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Publicar e informa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3" name="Text Box 27"/>
          <p:cNvSpPr txBox="1">
            <a:spLocks noChangeArrowheads="1"/>
          </p:cNvSpPr>
          <p:nvPr/>
        </p:nvSpPr>
        <p:spPr bwMode="gray">
          <a:xfrm>
            <a:off x="1000066" y="3305469"/>
            <a:ext cx="6236230" cy="2865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Establecer una metodología de cálculo (evita discrecionalidad y da certidumbre)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Definir el nivel de detalle y la granularidad de la colecta de información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Establecer periodicidad de medición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Definir responsable (¿operadora?, ¿auditor? ¿muestreo</a:t>
            </a:r>
            <a:r>
              <a:rPr lang="es-MX" sz="1900" kern="0" dirty="0" smtClean="0">
                <a:solidFill>
                  <a:schemeClr val="bg2"/>
                </a:solidFill>
                <a:latin typeface="+mn-lt"/>
                <a:sym typeface="Symbol"/>
              </a:rPr>
              <a:t>?)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b="1" kern="0" dirty="0" smtClean="0">
                <a:solidFill>
                  <a:schemeClr val="bg2"/>
                </a:solidFill>
                <a:latin typeface="+mn-lt"/>
                <a:sym typeface="Symbol"/>
              </a:rPr>
              <a:t>Acordar una única metodología a nivel regional</a:t>
            </a:r>
            <a:endParaRPr lang="es-MX" sz="1900" b="1" kern="0" dirty="0">
              <a:solidFill>
                <a:schemeClr val="bg2"/>
              </a:solidFill>
              <a:latin typeface="+mn-lt"/>
              <a:sym typeface="Symbol"/>
            </a:endParaRPr>
          </a:p>
        </p:txBody>
      </p:sp>
      <p:cxnSp>
        <p:nvCxnSpPr>
          <p:cNvPr id="15" name="21 Conector recto"/>
          <p:cNvCxnSpPr/>
          <p:nvPr/>
        </p:nvCxnSpPr>
        <p:spPr>
          <a:xfrm flipH="1">
            <a:off x="791304" y="2852936"/>
            <a:ext cx="1595242" cy="295240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22 Conector recto"/>
          <p:cNvCxnSpPr/>
          <p:nvPr/>
        </p:nvCxnSpPr>
        <p:spPr>
          <a:xfrm>
            <a:off x="765456" y="3175840"/>
            <a:ext cx="0" cy="3060000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23 Conector recto"/>
          <p:cNvCxnSpPr/>
          <p:nvPr/>
        </p:nvCxnSpPr>
        <p:spPr>
          <a:xfrm>
            <a:off x="4228765" y="2852936"/>
            <a:ext cx="3295563" cy="322904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25 Conector recto"/>
          <p:cNvCxnSpPr/>
          <p:nvPr/>
        </p:nvCxnSpPr>
        <p:spPr>
          <a:xfrm>
            <a:off x="7524328" y="3175840"/>
            <a:ext cx="0" cy="3060000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3606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7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7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7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7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3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espués</a:t>
            </a:r>
            <a:r>
              <a:rPr lang="en-US" dirty="0" smtClean="0"/>
              <a:t> </a:t>
            </a:r>
            <a:r>
              <a:rPr lang="en-US" dirty="0" err="1" smtClean="0"/>
              <a:t>debe</a:t>
            </a:r>
            <a:r>
              <a:rPr lang="en-US" dirty="0" smtClean="0"/>
              <a:t> </a:t>
            </a:r>
            <a:r>
              <a:rPr lang="en-US" dirty="0" err="1" smtClean="0"/>
              <a:t>realizarse</a:t>
            </a:r>
            <a:r>
              <a:rPr lang="en-US" dirty="0" smtClean="0"/>
              <a:t> la </a:t>
            </a:r>
            <a:r>
              <a:rPr lang="en-US" dirty="0" err="1" smtClean="0"/>
              <a:t>medición</a:t>
            </a:r>
            <a:r>
              <a:rPr lang="en-US" dirty="0" smtClean="0"/>
              <a:t>: Sin </a:t>
            </a:r>
            <a:r>
              <a:rPr lang="en-US" dirty="0" err="1" smtClean="0"/>
              <a:t>conflicto</a:t>
            </a:r>
            <a:r>
              <a:rPr lang="en-US" dirty="0" smtClean="0"/>
              <a:t> de </a:t>
            </a:r>
            <a:r>
              <a:rPr lang="en-US" dirty="0" err="1" smtClean="0"/>
              <a:t>interés</a:t>
            </a:r>
            <a:endParaRPr lang="en-US" dirty="0" smtClean="0"/>
          </a:p>
        </p:txBody>
      </p:sp>
      <p:sp>
        <p:nvSpPr>
          <p:cNvPr id="5" name="32 Pentágono"/>
          <p:cNvSpPr/>
          <p:nvPr/>
        </p:nvSpPr>
        <p:spPr>
          <a:xfrm>
            <a:off x="5868144" y="1700808"/>
            <a:ext cx="2016224" cy="1152128"/>
          </a:xfrm>
          <a:prstGeom prst="homePlate">
            <a:avLst>
              <a:gd name="adj" fmla="val 34601"/>
            </a:avLst>
          </a:prstGeom>
          <a:solidFill>
            <a:srgbClr val="33CC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6" name="31 Pentágono"/>
          <p:cNvSpPr/>
          <p:nvPr/>
        </p:nvSpPr>
        <p:spPr>
          <a:xfrm>
            <a:off x="4227952" y="1700808"/>
            <a:ext cx="2016224" cy="1152128"/>
          </a:xfrm>
          <a:prstGeom prst="homePlate">
            <a:avLst>
              <a:gd name="adj" fmla="val 32231"/>
            </a:avLst>
          </a:prstGeom>
          <a:solidFill>
            <a:srgbClr val="322AD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7" name="29 Pentágono"/>
          <p:cNvSpPr/>
          <p:nvPr/>
        </p:nvSpPr>
        <p:spPr>
          <a:xfrm>
            <a:off x="2386546" y="1700808"/>
            <a:ext cx="2232000" cy="1152128"/>
          </a:xfrm>
          <a:prstGeom prst="homePlate">
            <a:avLst>
              <a:gd name="adj" fmla="val 34601"/>
            </a:avLst>
          </a:prstGeom>
          <a:solidFill>
            <a:srgbClr val="33CC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8" name="26 Pentágono"/>
          <p:cNvSpPr/>
          <p:nvPr/>
        </p:nvSpPr>
        <p:spPr>
          <a:xfrm>
            <a:off x="755576" y="1700808"/>
            <a:ext cx="2016224" cy="1152128"/>
          </a:xfrm>
          <a:prstGeom prst="homePlate">
            <a:avLst>
              <a:gd name="adj" fmla="val 34601"/>
            </a:avLst>
          </a:prstGeom>
          <a:solidFill>
            <a:srgbClr val="33CC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72070" y="1860954"/>
            <a:ext cx="1296144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Definir qué se va a 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0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28170" y="1860954"/>
            <a:ext cx="1440000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Definir cómo se va a 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22856" y="2153341"/>
            <a:ext cx="1296144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2" name="Rectangle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39654" y="1860954"/>
            <a:ext cx="1296144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Publicar e informa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5" name="Text Box 27"/>
          <p:cNvSpPr txBox="1">
            <a:spLocks noChangeArrowheads="1"/>
          </p:cNvSpPr>
          <p:nvPr/>
        </p:nvSpPr>
        <p:spPr bwMode="gray">
          <a:xfrm>
            <a:off x="1000066" y="3305469"/>
            <a:ext cx="6236230" cy="192975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 smtClean="0">
                <a:solidFill>
                  <a:schemeClr val="bg2"/>
                </a:solidFill>
                <a:latin typeface="+mn-lt"/>
                <a:sym typeface="Symbol"/>
              </a:rPr>
              <a:t>Ejecutar la medición de los parámetros bajo estándares y padrones homogéneos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 smtClean="0">
                <a:solidFill>
                  <a:schemeClr val="bg2"/>
                </a:solidFill>
                <a:latin typeface="+mn-lt"/>
                <a:sym typeface="Symbol"/>
              </a:rPr>
              <a:t>Ser rigurosos y consistentes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b="1" kern="0" dirty="0" smtClean="0">
                <a:solidFill>
                  <a:schemeClr val="bg2"/>
                </a:solidFill>
                <a:latin typeface="+mn-lt"/>
                <a:sym typeface="Symbol"/>
              </a:rPr>
              <a:t>Emplear mediciones independientes, libres de injerencia de alguno de los interesados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 smtClean="0">
                <a:solidFill>
                  <a:schemeClr val="bg2"/>
                </a:solidFill>
                <a:latin typeface="+mn-lt"/>
                <a:sym typeface="Symbol"/>
              </a:rPr>
              <a:t>Dotar a las mediciones de credibilidad</a:t>
            </a:r>
            <a:endParaRPr lang="es-MX" sz="1900" kern="0" dirty="0">
              <a:solidFill>
                <a:schemeClr val="bg2"/>
              </a:solidFill>
              <a:latin typeface="+mn-lt"/>
              <a:sym typeface="Symbol"/>
            </a:endParaRPr>
          </a:p>
        </p:txBody>
      </p:sp>
      <p:cxnSp>
        <p:nvCxnSpPr>
          <p:cNvPr id="16" name="21 Conector recto"/>
          <p:cNvCxnSpPr/>
          <p:nvPr/>
        </p:nvCxnSpPr>
        <p:spPr>
          <a:xfrm flipH="1">
            <a:off x="791304" y="2852936"/>
            <a:ext cx="3476866" cy="295240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22 Conector recto"/>
          <p:cNvCxnSpPr/>
          <p:nvPr/>
        </p:nvCxnSpPr>
        <p:spPr>
          <a:xfrm>
            <a:off x="765456" y="3175840"/>
            <a:ext cx="0" cy="2484000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23 Conector recto"/>
          <p:cNvCxnSpPr/>
          <p:nvPr/>
        </p:nvCxnSpPr>
        <p:spPr>
          <a:xfrm>
            <a:off x="5868144" y="2852936"/>
            <a:ext cx="1656184" cy="322904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5 Conector recto"/>
          <p:cNvCxnSpPr/>
          <p:nvPr/>
        </p:nvCxnSpPr>
        <p:spPr>
          <a:xfrm>
            <a:off x="7524328" y="3175840"/>
            <a:ext cx="0" cy="2484000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0386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7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7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7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7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8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7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3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Y </a:t>
            </a:r>
            <a:r>
              <a:rPr lang="en-US" dirty="0" err="1" smtClean="0"/>
              <a:t>finalmente</a:t>
            </a:r>
            <a:r>
              <a:rPr lang="en-US" dirty="0" smtClean="0"/>
              <a:t> </a:t>
            </a:r>
            <a:r>
              <a:rPr lang="en-US" dirty="0" err="1" smtClean="0"/>
              <a:t>dar</a:t>
            </a:r>
            <a:r>
              <a:rPr lang="en-US" dirty="0" smtClean="0"/>
              <a:t> </a:t>
            </a:r>
            <a:r>
              <a:rPr lang="en-US" dirty="0" err="1" smtClean="0"/>
              <a:t>publicidad</a:t>
            </a:r>
            <a:r>
              <a:rPr lang="en-US" dirty="0" smtClean="0"/>
              <a:t> a los </a:t>
            </a:r>
            <a:r>
              <a:rPr lang="en-US" dirty="0" err="1" smtClean="0"/>
              <a:t>resultados</a:t>
            </a:r>
            <a:r>
              <a:rPr lang="en-US" dirty="0" smtClean="0"/>
              <a:t>: </a:t>
            </a:r>
            <a:r>
              <a:rPr lang="en-US" dirty="0" err="1" smtClean="0"/>
              <a:t>Concientización</a:t>
            </a:r>
            <a:endParaRPr lang="en-US" dirty="0" smtClean="0"/>
          </a:p>
        </p:txBody>
      </p:sp>
      <p:sp>
        <p:nvSpPr>
          <p:cNvPr id="5" name="32 Pentágono"/>
          <p:cNvSpPr/>
          <p:nvPr/>
        </p:nvSpPr>
        <p:spPr>
          <a:xfrm>
            <a:off x="5868144" y="1700808"/>
            <a:ext cx="2016224" cy="1152128"/>
          </a:xfrm>
          <a:prstGeom prst="homePlate">
            <a:avLst>
              <a:gd name="adj" fmla="val 34601"/>
            </a:avLst>
          </a:prstGeom>
          <a:solidFill>
            <a:srgbClr val="322AD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6" name="31 Pentágono"/>
          <p:cNvSpPr/>
          <p:nvPr/>
        </p:nvSpPr>
        <p:spPr>
          <a:xfrm>
            <a:off x="4211638" y="1700808"/>
            <a:ext cx="2016224" cy="1152128"/>
          </a:xfrm>
          <a:prstGeom prst="homePlate">
            <a:avLst>
              <a:gd name="adj" fmla="val 32231"/>
            </a:avLst>
          </a:prstGeom>
          <a:solidFill>
            <a:srgbClr val="33CC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7" name="29 Pentágono"/>
          <p:cNvSpPr/>
          <p:nvPr/>
        </p:nvSpPr>
        <p:spPr>
          <a:xfrm>
            <a:off x="2386546" y="1700808"/>
            <a:ext cx="2232000" cy="1152128"/>
          </a:xfrm>
          <a:prstGeom prst="homePlate">
            <a:avLst>
              <a:gd name="adj" fmla="val 34601"/>
            </a:avLst>
          </a:prstGeom>
          <a:solidFill>
            <a:srgbClr val="33CC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8" name="26 Pentágono"/>
          <p:cNvSpPr/>
          <p:nvPr/>
        </p:nvSpPr>
        <p:spPr>
          <a:xfrm>
            <a:off x="755576" y="1700808"/>
            <a:ext cx="2016224" cy="1152128"/>
          </a:xfrm>
          <a:prstGeom prst="homePlate">
            <a:avLst>
              <a:gd name="adj" fmla="val 34601"/>
            </a:avLst>
          </a:prstGeom>
          <a:solidFill>
            <a:srgbClr val="33CCFF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72070" y="1860954"/>
            <a:ext cx="1296144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Definir qué se va a 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0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28170" y="1860954"/>
            <a:ext cx="1440000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Definir cómo se va a 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22856" y="2153341"/>
            <a:ext cx="1296144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2" name="Rectangle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39654" y="1860954"/>
            <a:ext cx="1296144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Publicar e informa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3" name="Text Box 27"/>
          <p:cNvSpPr txBox="1">
            <a:spLocks noChangeArrowheads="1"/>
          </p:cNvSpPr>
          <p:nvPr/>
        </p:nvSpPr>
        <p:spPr bwMode="gray">
          <a:xfrm>
            <a:off x="1000066" y="3305469"/>
            <a:ext cx="6308238" cy="31577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Dar amplia difusión a la información sobre calidad de servicio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Facilitar el acceso a la </a:t>
            </a:r>
            <a:r>
              <a:rPr lang="es-MX" sz="1900" kern="0" dirty="0" smtClean="0">
                <a:solidFill>
                  <a:schemeClr val="bg2"/>
                </a:solidFill>
                <a:latin typeface="+mn-lt"/>
                <a:sym typeface="Symbol"/>
              </a:rPr>
              <a:t>información a quien la requiera (incluyendo usuarios)</a:t>
            </a:r>
            <a:endParaRPr lang="es-MX" sz="1900" kern="0" dirty="0">
              <a:solidFill>
                <a:schemeClr val="bg2"/>
              </a:solidFill>
              <a:latin typeface="+mn-lt"/>
              <a:sym typeface="Symbol"/>
            </a:endParaRP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Incluir información en todas las ofertas comerciales (</a:t>
            </a:r>
            <a:r>
              <a:rPr lang="es-MX" sz="1900" b="1" kern="0" dirty="0">
                <a:solidFill>
                  <a:schemeClr val="bg2"/>
                </a:solidFill>
                <a:latin typeface="+mn-lt"/>
                <a:sym typeface="Symbol"/>
              </a:rPr>
              <a:t>transparencia</a:t>
            </a: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)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>
                <a:solidFill>
                  <a:schemeClr val="bg2"/>
                </a:solidFill>
                <a:latin typeface="+mn-lt"/>
                <a:sym typeface="Symbol"/>
              </a:rPr>
              <a:t>Contar con lineamientos para publicidad (v. gr., autorregulación publicitaria</a:t>
            </a:r>
            <a:r>
              <a:rPr lang="es-MX" sz="1900" kern="0" dirty="0" smtClean="0">
                <a:solidFill>
                  <a:schemeClr val="bg2"/>
                </a:solidFill>
                <a:latin typeface="+mn-lt"/>
                <a:sym typeface="Symbol"/>
              </a:rPr>
              <a:t>)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7"/>
              </a:buBlip>
            </a:pPr>
            <a:r>
              <a:rPr lang="es-MX" sz="1900" kern="0" dirty="0" smtClean="0">
                <a:solidFill>
                  <a:schemeClr val="bg2"/>
                </a:solidFill>
                <a:latin typeface="+mn-lt"/>
                <a:sym typeface="Symbol"/>
              </a:rPr>
              <a:t>Dar publicidad a las estadísticas regionales (</a:t>
            </a:r>
            <a:r>
              <a:rPr lang="es-MX" sz="1900" b="1" i="1" kern="0" dirty="0" smtClean="0">
                <a:solidFill>
                  <a:schemeClr val="bg2"/>
                </a:solidFill>
                <a:latin typeface="+mn-lt"/>
                <a:sym typeface="Symbol"/>
              </a:rPr>
              <a:t>rankings</a:t>
            </a:r>
            <a:r>
              <a:rPr lang="es-MX" sz="1900" kern="0" dirty="0" smtClean="0">
                <a:solidFill>
                  <a:schemeClr val="bg2"/>
                </a:solidFill>
                <a:latin typeface="+mn-lt"/>
                <a:sym typeface="Symbol"/>
              </a:rPr>
              <a:t>) periódicamente</a:t>
            </a:r>
            <a:endParaRPr lang="es-MX" sz="1900" kern="0" dirty="0">
              <a:solidFill>
                <a:schemeClr val="bg2"/>
              </a:solidFill>
              <a:latin typeface="+mn-lt"/>
              <a:sym typeface="Symbol"/>
            </a:endParaRPr>
          </a:p>
        </p:txBody>
      </p:sp>
      <p:cxnSp>
        <p:nvCxnSpPr>
          <p:cNvPr id="16" name="21 Conector recto"/>
          <p:cNvCxnSpPr/>
          <p:nvPr/>
        </p:nvCxnSpPr>
        <p:spPr>
          <a:xfrm flipH="1">
            <a:off x="791304" y="2852936"/>
            <a:ext cx="5076840" cy="295240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22 Conector recto"/>
          <p:cNvCxnSpPr/>
          <p:nvPr/>
        </p:nvCxnSpPr>
        <p:spPr>
          <a:xfrm>
            <a:off x="765456" y="3175840"/>
            <a:ext cx="0" cy="3240000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25 Conector recto"/>
          <p:cNvCxnSpPr/>
          <p:nvPr/>
        </p:nvCxnSpPr>
        <p:spPr>
          <a:xfrm>
            <a:off x="7482421" y="2852936"/>
            <a:ext cx="0" cy="3600000"/>
          </a:xfrm>
          <a:prstGeom prst="line">
            <a:avLst/>
          </a:prstGeom>
          <a:ln w="19050">
            <a:solidFill>
              <a:srgbClr val="322ADA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609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20483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21ACB48-B39D-43B1-BFB4-07C4FDE83315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3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2048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 </a:t>
            </a:r>
            <a:r>
              <a:rPr lang="en-US" dirty="0" err="1" smtClean="0"/>
              <a:t>última</a:t>
            </a:r>
            <a:r>
              <a:rPr lang="en-US" dirty="0" smtClean="0"/>
              <a:t> </a:t>
            </a:r>
            <a:r>
              <a:rPr lang="en-US" dirty="0" err="1" smtClean="0"/>
              <a:t>fase</a:t>
            </a:r>
            <a:r>
              <a:rPr lang="en-US" dirty="0" smtClean="0"/>
              <a:t> </a:t>
            </a:r>
            <a:r>
              <a:rPr lang="en-US" dirty="0" err="1" smtClean="0"/>
              <a:t>es</a:t>
            </a:r>
            <a:r>
              <a:rPr lang="en-US" dirty="0" smtClean="0"/>
              <a:t> fundamental, </a:t>
            </a:r>
            <a:r>
              <a:rPr lang="en-US" dirty="0" err="1" smtClean="0"/>
              <a:t>pues</a:t>
            </a:r>
            <a:r>
              <a:rPr lang="en-US" dirty="0" smtClean="0"/>
              <a:t> </a:t>
            </a:r>
            <a:r>
              <a:rPr lang="en-US" dirty="0" err="1" smtClean="0"/>
              <a:t>busca</a:t>
            </a:r>
            <a:r>
              <a:rPr lang="en-US" dirty="0" smtClean="0"/>
              <a:t> </a:t>
            </a:r>
            <a:r>
              <a:rPr lang="en-US" dirty="0" err="1" smtClean="0"/>
              <a:t>cumplir</a:t>
            </a:r>
            <a:r>
              <a:rPr lang="en-US" dirty="0" smtClean="0"/>
              <a:t> </a:t>
            </a:r>
            <a:r>
              <a:rPr lang="en-US" dirty="0" err="1" smtClean="0"/>
              <a:t>tres</a:t>
            </a:r>
            <a:r>
              <a:rPr lang="en-US" dirty="0" smtClean="0"/>
              <a:t> </a:t>
            </a:r>
            <a:r>
              <a:rPr lang="en-US" dirty="0" err="1" smtClean="0"/>
              <a:t>objetivos</a:t>
            </a:r>
            <a:endParaRPr lang="en-US" dirty="0" smtClean="0"/>
          </a:p>
        </p:txBody>
      </p:sp>
      <p:sp>
        <p:nvSpPr>
          <p:cNvPr id="7" name="15 Rectángulo redondeado"/>
          <p:cNvSpPr/>
          <p:nvPr/>
        </p:nvSpPr>
        <p:spPr>
          <a:xfrm>
            <a:off x="1043608" y="1772816"/>
            <a:ext cx="7272808" cy="4049062"/>
          </a:xfrm>
          <a:prstGeom prst="roundRect">
            <a:avLst>
              <a:gd name="adj" fmla="val 9559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0" name="Text Box 27"/>
          <p:cNvSpPr txBox="1">
            <a:spLocks noChangeArrowheads="1"/>
          </p:cNvSpPr>
          <p:nvPr/>
        </p:nvSpPr>
        <p:spPr bwMode="gray">
          <a:xfrm>
            <a:off x="1259631" y="2088953"/>
            <a:ext cx="6768753" cy="33609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3"/>
              </a:buBlip>
            </a:pPr>
            <a:r>
              <a:rPr lang="es-MX" sz="2600" kern="0" dirty="0">
                <a:solidFill>
                  <a:schemeClr val="bg1"/>
                </a:solidFill>
                <a:latin typeface="+mn-lt"/>
                <a:sym typeface="Symbol"/>
              </a:rPr>
              <a:t>Disminuir la asimetría de información entre los usuarios y las operadoras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3"/>
              </a:buBlip>
            </a:pPr>
            <a:r>
              <a:rPr lang="es-MX" sz="2600" kern="0" dirty="0">
                <a:solidFill>
                  <a:schemeClr val="bg1"/>
                </a:solidFill>
                <a:latin typeface="+mn-lt"/>
                <a:sym typeface="Symbol"/>
              </a:rPr>
              <a:t>Generar “presión de iguales” entre las operadoras para competir utilizando la palanca de calidad de </a:t>
            </a:r>
            <a:r>
              <a:rPr lang="es-MX" sz="2600" kern="0" dirty="0" smtClean="0">
                <a:solidFill>
                  <a:schemeClr val="bg1"/>
                </a:solidFill>
                <a:latin typeface="+mn-lt"/>
                <a:sym typeface="Symbol"/>
              </a:rPr>
              <a:t>servicio</a:t>
            </a:r>
          </a:p>
          <a:p>
            <a:pPr marL="342900" lvl="1" indent="-342900">
              <a:spcBef>
                <a:spcPct val="20000"/>
              </a:spcBef>
              <a:buClr>
                <a:schemeClr val="tx1"/>
              </a:buClr>
              <a:buSzPct val="75000"/>
              <a:buBlip>
                <a:blip r:embed="rId3"/>
              </a:buBlip>
            </a:pPr>
            <a:r>
              <a:rPr lang="es-MX" sz="2600" kern="0" dirty="0" smtClean="0">
                <a:solidFill>
                  <a:schemeClr val="bg1"/>
                </a:solidFill>
                <a:latin typeface="+mn-lt"/>
                <a:sym typeface="Symbol"/>
              </a:rPr>
              <a:t>Generar incentivos a nivel regional, tanto para las operadoras como para las autoridades</a:t>
            </a:r>
            <a:endParaRPr lang="es-MX" sz="2600" kern="0" dirty="0">
              <a:solidFill>
                <a:schemeClr val="bg1"/>
              </a:solidFill>
              <a:latin typeface="+mn-lt"/>
              <a:sym typeface="Symbo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9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0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9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9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10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9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10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9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3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 la “</a:t>
            </a:r>
            <a:r>
              <a:rPr lang="en-US" dirty="0" err="1" smtClean="0"/>
              <a:t>autorregulación</a:t>
            </a:r>
            <a:r>
              <a:rPr lang="en-US" dirty="0" smtClean="0"/>
              <a:t>” no </a:t>
            </a:r>
            <a:r>
              <a:rPr lang="en-US" dirty="0" err="1" smtClean="0"/>
              <a:t>funciona</a:t>
            </a:r>
            <a:r>
              <a:rPr lang="en-US" dirty="0" smtClean="0"/>
              <a:t>, </a:t>
            </a:r>
            <a:r>
              <a:rPr lang="en-US" dirty="0" err="1" smtClean="0"/>
              <a:t>entonces</a:t>
            </a:r>
            <a:r>
              <a:rPr lang="en-US" dirty="0" smtClean="0"/>
              <a:t> </a:t>
            </a:r>
            <a:r>
              <a:rPr lang="en-US" dirty="0" err="1" smtClean="0"/>
              <a:t>es</a:t>
            </a:r>
            <a:r>
              <a:rPr lang="en-US" dirty="0" smtClean="0"/>
              <a:t> </a:t>
            </a:r>
            <a:r>
              <a:rPr lang="en-US" dirty="0" err="1" smtClean="0"/>
              <a:t>necesario</a:t>
            </a:r>
            <a:r>
              <a:rPr lang="en-US" dirty="0" smtClean="0"/>
              <a:t> regular</a:t>
            </a:r>
          </a:p>
        </p:txBody>
      </p:sp>
      <p:sp>
        <p:nvSpPr>
          <p:cNvPr id="5" name="32 Pentágono"/>
          <p:cNvSpPr/>
          <p:nvPr/>
        </p:nvSpPr>
        <p:spPr>
          <a:xfrm>
            <a:off x="5868144" y="1700808"/>
            <a:ext cx="2016224" cy="1152128"/>
          </a:xfrm>
          <a:prstGeom prst="homePlate">
            <a:avLst>
              <a:gd name="adj" fmla="val 34601"/>
            </a:avLst>
          </a:prstGeom>
          <a:solidFill>
            <a:srgbClr val="322AD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6" name="31 Pentágono"/>
          <p:cNvSpPr/>
          <p:nvPr/>
        </p:nvSpPr>
        <p:spPr>
          <a:xfrm>
            <a:off x="4227952" y="1700808"/>
            <a:ext cx="2016224" cy="1152128"/>
          </a:xfrm>
          <a:prstGeom prst="homePlate">
            <a:avLst>
              <a:gd name="adj" fmla="val 32231"/>
            </a:avLst>
          </a:prstGeom>
          <a:solidFill>
            <a:srgbClr val="322AD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7" name="29 Pentágono"/>
          <p:cNvSpPr/>
          <p:nvPr/>
        </p:nvSpPr>
        <p:spPr>
          <a:xfrm>
            <a:off x="2386546" y="1700808"/>
            <a:ext cx="2232000" cy="1152128"/>
          </a:xfrm>
          <a:prstGeom prst="homePlate">
            <a:avLst>
              <a:gd name="adj" fmla="val 34601"/>
            </a:avLst>
          </a:prstGeom>
          <a:solidFill>
            <a:srgbClr val="322AD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8" name="26 Pentágono"/>
          <p:cNvSpPr/>
          <p:nvPr/>
        </p:nvSpPr>
        <p:spPr>
          <a:xfrm>
            <a:off x="755576" y="1700808"/>
            <a:ext cx="2016224" cy="1152128"/>
          </a:xfrm>
          <a:prstGeom prst="homePlate">
            <a:avLst>
              <a:gd name="adj" fmla="val 34601"/>
            </a:avLst>
          </a:prstGeom>
          <a:solidFill>
            <a:srgbClr val="322ADA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900"/>
          </a:p>
        </p:txBody>
      </p:sp>
      <p:sp>
        <p:nvSpPr>
          <p:cNvPr id="9" name="Rectangle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72070" y="1860954"/>
            <a:ext cx="1296144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Definir qué se va a 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0" name="Rectangle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828170" y="1860954"/>
            <a:ext cx="1440000" cy="11695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Definir cómo se va a 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22856" y="2153341"/>
            <a:ext cx="1296144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Medi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2" name="Rectangle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339654" y="1860954"/>
            <a:ext cx="1296144" cy="877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Publicar e informa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sp>
        <p:nvSpPr>
          <p:cNvPr id="13" name="15 Pentágono"/>
          <p:cNvSpPr/>
          <p:nvPr/>
        </p:nvSpPr>
        <p:spPr>
          <a:xfrm>
            <a:off x="7244498" y="3717032"/>
            <a:ext cx="1800000" cy="1152128"/>
          </a:xfrm>
          <a:prstGeom prst="homePlate">
            <a:avLst>
              <a:gd name="adj" fmla="val 34601"/>
            </a:avLst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sz="1600"/>
          </a:p>
        </p:txBody>
      </p:sp>
      <p:sp>
        <p:nvSpPr>
          <p:cNvPr id="14" name="Rectangle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379750" y="4038330"/>
            <a:ext cx="1376354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1900" b="1" kern="0" dirty="0" smtClean="0">
                <a:solidFill>
                  <a:schemeClr val="bg1"/>
                </a:solidFill>
                <a:latin typeface="+mj-lt"/>
                <a:ea typeface="+mj-ea"/>
                <a:cs typeface="Arial" pitchFamily="34" charset="0"/>
              </a:rPr>
              <a:t>Regular y sancionar</a:t>
            </a:r>
            <a:endParaRPr kumimoji="0" lang="es-MX" sz="1900" b="1" i="0" u="none" strike="noStrike" kern="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Arial" pitchFamily="34" charset="0"/>
            </a:endParaRPr>
          </a:p>
        </p:txBody>
      </p:sp>
      <p:grpSp>
        <p:nvGrpSpPr>
          <p:cNvPr id="15" name="19 Grupo"/>
          <p:cNvGrpSpPr/>
          <p:nvPr/>
        </p:nvGrpSpPr>
        <p:grpSpPr>
          <a:xfrm>
            <a:off x="6268710" y="2761082"/>
            <a:ext cx="2160000" cy="1044000"/>
            <a:chOff x="5580112" y="1124744"/>
            <a:chExt cx="2160000" cy="1044000"/>
          </a:xfrm>
        </p:grpSpPr>
        <p:sp>
          <p:nvSpPr>
            <p:cNvPr id="16" name="18 Elipse"/>
            <p:cNvSpPr/>
            <p:nvPr/>
          </p:nvSpPr>
          <p:spPr>
            <a:xfrm>
              <a:off x="5580112" y="1124744"/>
              <a:ext cx="2160000" cy="1044000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600"/>
            </a:p>
          </p:txBody>
        </p:sp>
        <p:sp>
          <p:nvSpPr>
            <p:cNvPr id="17" name="Rectangle 4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808732" y="1295414"/>
              <a:ext cx="1764076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s-MX" sz="1600" b="1" kern="0" dirty="0" smtClean="0">
                  <a:latin typeface="+mj-lt"/>
                  <a:ea typeface="+mj-ea"/>
                  <a:cs typeface="Arial" pitchFamily="34" charset="0"/>
                </a:rPr>
                <a:t>Si el resultado no es satisfactorio</a:t>
              </a:r>
              <a:endParaRPr kumimoji="0" lang="es-MX" sz="1600" b="1" i="0" u="none" strike="noStrike" kern="0" cap="none" spc="0" normalizeH="0" baseline="0" dirty="0">
                <a:ln>
                  <a:noFill/>
                </a:ln>
                <a:effectLst/>
                <a:uLnTx/>
                <a:uFillTx/>
                <a:latin typeface="+mj-lt"/>
                <a:ea typeface="+mj-ea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9653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38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¿</a:t>
            </a:r>
            <a:r>
              <a:rPr lang="en-US" dirty="0" err="1" smtClean="0"/>
              <a:t>Por</a:t>
            </a:r>
            <a:r>
              <a:rPr lang="en-US" dirty="0" smtClean="0"/>
              <a:t> </a:t>
            </a:r>
            <a:r>
              <a:rPr lang="en-US" dirty="0" err="1" smtClean="0"/>
              <a:t>qué</a:t>
            </a:r>
            <a:r>
              <a:rPr lang="en-US" dirty="0" smtClean="0"/>
              <a:t> </a:t>
            </a:r>
            <a:r>
              <a:rPr lang="en-US" dirty="0" err="1" smtClean="0"/>
              <a:t>tiene</a:t>
            </a:r>
            <a:r>
              <a:rPr lang="en-US" dirty="0" smtClean="0"/>
              <a:t> </a:t>
            </a:r>
            <a:r>
              <a:rPr lang="en-US" dirty="0" err="1" smtClean="0"/>
              <a:t>sentido</a:t>
            </a:r>
            <a:r>
              <a:rPr lang="en-US" dirty="0" smtClean="0"/>
              <a:t> la </a:t>
            </a:r>
            <a:r>
              <a:rPr lang="en-US" dirty="0" err="1" smtClean="0"/>
              <a:t>propuesta</a:t>
            </a:r>
            <a:r>
              <a:rPr lang="en-US" dirty="0" smtClean="0"/>
              <a:t> anterior?</a:t>
            </a:r>
          </a:p>
        </p:txBody>
      </p:sp>
      <p:sp>
        <p:nvSpPr>
          <p:cNvPr id="18" name="Rectangle 3"/>
          <p:cNvSpPr txBox="1">
            <a:spLocks noChangeArrowheads="1"/>
          </p:cNvSpPr>
          <p:nvPr/>
        </p:nvSpPr>
        <p:spPr bwMode="auto">
          <a:xfrm>
            <a:off x="207978" y="966214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US" sz="2150" kern="0" dirty="0" smtClean="0"/>
              <a:t>Genera </a:t>
            </a:r>
            <a:r>
              <a:rPr lang="en-US" sz="2150" i="1" kern="0" dirty="0" smtClean="0"/>
              <a:t>peer pressure</a:t>
            </a:r>
          </a:p>
          <a:p>
            <a:r>
              <a:rPr lang="en-US" sz="2150" kern="0" dirty="0" err="1" smtClean="0"/>
              <a:t>Estandariza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regionalmente</a:t>
            </a:r>
            <a:r>
              <a:rPr lang="en-US" sz="2150" kern="0" dirty="0" smtClean="0"/>
              <a:t> los </a:t>
            </a:r>
            <a:r>
              <a:rPr lang="en-US" sz="2150" kern="0" dirty="0" err="1" smtClean="0"/>
              <a:t>conceptos</a:t>
            </a:r>
            <a:endParaRPr lang="en-US" sz="2150" kern="0" dirty="0" smtClean="0"/>
          </a:p>
          <a:p>
            <a:r>
              <a:rPr lang="en-US" sz="2150" kern="0" dirty="0" err="1" smtClean="0"/>
              <a:t>Simplifica</a:t>
            </a:r>
            <a:r>
              <a:rPr lang="en-US" sz="2150" kern="0" dirty="0" smtClean="0"/>
              <a:t> la </a:t>
            </a:r>
            <a:r>
              <a:rPr lang="en-US" sz="2150" kern="0" dirty="0" err="1" smtClean="0"/>
              <a:t>comunicación</a:t>
            </a:r>
            <a:endParaRPr lang="en-US" sz="2150" kern="0" dirty="0" smtClean="0"/>
          </a:p>
          <a:p>
            <a:r>
              <a:rPr lang="en-US" sz="2150" kern="0" dirty="0" err="1" smtClean="0"/>
              <a:t>Simplifica</a:t>
            </a:r>
            <a:r>
              <a:rPr lang="en-US" sz="2150" kern="0" dirty="0" smtClean="0"/>
              <a:t> la </a:t>
            </a:r>
            <a:r>
              <a:rPr lang="en-US" sz="2150" kern="0" dirty="0" err="1" smtClean="0"/>
              <a:t>medición</a:t>
            </a:r>
            <a:endParaRPr lang="en-US" sz="2150" kern="0" dirty="0" smtClean="0"/>
          </a:p>
          <a:p>
            <a:r>
              <a:rPr lang="en-US" sz="2150" kern="0" dirty="0" smtClean="0"/>
              <a:t>Reduce el </a:t>
            </a:r>
            <a:r>
              <a:rPr lang="en-US" sz="2150" kern="0" dirty="0" err="1" smtClean="0"/>
              <a:t>impacto</a:t>
            </a:r>
            <a:r>
              <a:rPr lang="en-US" sz="2150" kern="0" dirty="0" smtClean="0"/>
              <a:t> en </a:t>
            </a:r>
            <a:r>
              <a:rPr lang="en-US" sz="2150" kern="0" dirty="0" err="1" smtClean="0"/>
              <a:t>costos</a:t>
            </a:r>
            <a:endParaRPr lang="en-US" sz="2150" kern="0" dirty="0"/>
          </a:p>
          <a:p>
            <a:r>
              <a:rPr lang="en-US" sz="2150" kern="0" dirty="0" err="1" smtClean="0"/>
              <a:t>Minimiza</a:t>
            </a:r>
            <a:r>
              <a:rPr lang="en-US" sz="2150" kern="0" dirty="0" smtClean="0"/>
              <a:t> el </a:t>
            </a:r>
            <a:r>
              <a:rPr lang="en-US" sz="2150" kern="0" dirty="0" err="1" smtClean="0"/>
              <a:t>impacto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negativo</a:t>
            </a:r>
            <a:r>
              <a:rPr lang="en-US" sz="2150" kern="0" dirty="0" smtClean="0"/>
              <a:t> en la </a:t>
            </a:r>
            <a:r>
              <a:rPr lang="en-US" sz="2150" kern="0" dirty="0" err="1" smtClean="0"/>
              <a:t>reducción</a:t>
            </a:r>
            <a:r>
              <a:rPr lang="en-US" sz="2150" kern="0" dirty="0" smtClean="0"/>
              <a:t> de la </a:t>
            </a:r>
            <a:r>
              <a:rPr lang="en-US" sz="2150" kern="0" dirty="0" err="1" smtClean="0"/>
              <a:t>brecha</a:t>
            </a:r>
            <a:r>
              <a:rPr lang="en-US" sz="2150" kern="0" dirty="0" smtClean="0"/>
              <a:t> de </a:t>
            </a:r>
            <a:r>
              <a:rPr lang="en-US" sz="2150" kern="0" dirty="0" err="1" smtClean="0"/>
              <a:t>acceso</a:t>
            </a:r>
            <a:endParaRPr lang="en-US" sz="2150" kern="0" dirty="0" smtClean="0"/>
          </a:p>
          <a:p>
            <a:r>
              <a:rPr lang="en-US" sz="2150" kern="0" dirty="0" err="1" smtClean="0"/>
              <a:t>Permite</a:t>
            </a:r>
            <a:r>
              <a:rPr lang="en-US" sz="2150" kern="0" dirty="0" smtClean="0"/>
              <a:t> al </a:t>
            </a:r>
            <a:r>
              <a:rPr lang="en-US" sz="2150" kern="0" dirty="0" err="1" smtClean="0"/>
              <a:t>mercado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mantener</a:t>
            </a:r>
            <a:r>
              <a:rPr lang="en-US" sz="2150" kern="0" dirty="0" smtClean="0"/>
              <a:t> y </a:t>
            </a:r>
            <a:r>
              <a:rPr lang="en-US" sz="2150" kern="0" dirty="0" err="1" smtClean="0"/>
              <a:t>utilizar</a:t>
            </a:r>
            <a:r>
              <a:rPr lang="en-US" sz="2150" kern="0" dirty="0" smtClean="0"/>
              <a:t>, para </a:t>
            </a:r>
            <a:r>
              <a:rPr lang="en-US" sz="2150" kern="0" dirty="0" err="1" smtClean="0"/>
              <a:t>competir</a:t>
            </a:r>
            <a:r>
              <a:rPr lang="en-US" sz="2150" kern="0" dirty="0" smtClean="0"/>
              <a:t>, la </a:t>
            </a:r>
            <a:r>
              <a:rPr lang="en-US" sz="2150" kern="0" dirty="0" err="1" smtClean="0"/>
              <a:t>palanca</a:t>
            </a:r>
            <a:r>
              <a:rPr lang="en-US" sz="2150" kern="0" dirty="0" smtClean="0"/>
              <a:t> de </a:t>
            </a:r>
            <a:r>
              <a:rPr lang="en-US" sz="2150" kern="0" dirty="0" err="1" smtClean="0"/>
              <a:t>QoS</a:t>
            </a:r>
            <a:endParaRPr lang="en-US" sz="2150" kern="0" dirty="0" smtClean="0"/>
          </a:p>
          <a:p>
            <a:r>
              <a:rPr lang="en-US" sz="2150" kern="0" dirty="0" smtClean="0"/>
              <a:t>Pone el </a:t>
            </a:r>
            <a:r>
              <a:rPr lang="en-US" sz="2150" i="1" kern="0" dirty="0" smtClean="0"/>
              <a:t>burden of proof</a:t>
            </a:r>
            <a:r>
              <a:rPr lang="en-US" sz="2150" kern="0" dirty="0" smtClean="0"/>
              <a:t> en </a:t>
            </a:r>
            <a:r>
              <a:rPr lang="en-US" sz="2150" kern="0" dirty="0" err="1" smtClean="0"/>
              <a:t>las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operadoras</a:t>
            </a:r>
            <a:r>
              <a:rPr lang="en-US" sz="2150" kern="0" dirty="0" smtClean="0"/>
              <a:t>, </a:t>
            </a:r>
            <a:r>
              <a:rPr lang="en-US" sz="2150" kern="0" dirty="0" err="1" smtClean="0"/>
              <a:t>disminuyendo</a:t>
            </a:r>
            <a:r>
              <a:rPr lang="en-US" sz="2150" kern="0" dirty="0" smtClean="0"/>
              <a:t> el </a:t>
            </a:r>
            <a:r>
              <a:rPr lang="en-US" sz="2150" kern="0" dirty="0" err="1" smtClean="0"/>
              <a:t>costo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regulatorio</a:t>
            </a:r>
            <a:endParaRPr lang="en-US" sz="2150" kern="0" dirty="0" smtClean="0"/>
          </a:p>
          <a:p>
            <a:r>
              <a:rPr lang="en-US" sz="2150" kern="0" dirty="0" smtClean="0"/>
              <a:t>Da </a:t>
            </a:r>
            <a:r>
              <a:rPr lang="en-US" sz="2150" kern="0" dirty="0" err="1" smtClean="0"/>
              <a:t>herramientas</a:t>
            </a:r>
            <a:r>
              <a:rPr lang="en-US" sz="2150" kern="0" dirty="0" smtClean="0"/>
              <a:t> y </a:t>
            </a:r>
            <a:r>
              <a:rPr lang="en-US" sz="2150" kern="0" dirty="0" err="1" smtClean="0"/>
              <a:t>justificaciones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sólidas</a:t>
            </a:r>
            <a:r>
              <a:rPr lang="en-US" sz="2150" kern="0" dirty="0" smtClean="0"/>
              <a:t> para </a:t>
            </a:r>
            <a:r>
              <a:rPr lang="en-US" sz="2150" kern="0" dirty="0" err="1" smtClean="0"/>
              <a:t>una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intervención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regulatoria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si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resulta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necesaria</a:t>
            </a:r>
            <a:r>
              <a:rPr lang="en-US" sz="2150" kern="0" dirty="0" smtClean="0"/>
              <a:t>, con </a:t>
            </a:r>
            <a:r>
              <a:rPr lang="en-US" sz="2150" kern="0" dirty="0" err="1" smtClean="0"/>
              <a:t>poco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contenido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político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circunstancial</a:t>
            </a:r>
            <a:r>
              <a:rPr lang="en-US" sz="2150" kern="0" dirty="0" smtClean="0"/>
              <a:t>, </a:t>
            </a:r>
            <a:r>
              <a:rPr lang="en-US" sz="2150" kern="0" dirty="0" err="1" smtClean="0"/>
              <a:t>respondiendo</a:t>
            </a:r>
            <a:r>
              <a:rPr lang="en-US" sz="2150" kern="0" dirty="0" smtClean="0"/>
              <a:t> a </a:t>
            </a:r>
            <a:r>
              <a:rPr lang="en-US" sz="2150" kern="0" dirty="0" err="1" smtClean="0"/>
              <a:t>una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realidad</a:t>
            </a:r>
            <a:r>
              <a:rPr lang="en-US" sz="2150" kern="0" dirty="0" smtClean="0"/>
              <a:t> y no </a:t>
            </a:r>
            <a:r>
              <a:rPr lang="en-US" sz="2150" kern="0" dirty="0" err="1" smtClean="0"/>
              <a:t>sólo</a:t>
            </a:r>
            <a:r>
              <a:rPr lang="en-US" sz="2150" kern="0" dirty="0" smtClean="0"/>
              <a:t> a </a:t>
            </a:r>
            <a:r>
              <a:rPr lang="en-US" sz="2150" kern="0" dirty="0" err="1" smtClean="0"/>
              <a:t>una</a:t>
            </a:r>
            <a:r>
              <a:rPr lang="en-US" sz="2150" kern="0" dirty="0" smtClean="0"/>
              <a:t> </a:t>
            </a:r>
            <a:r>
              <a:rPr lang="en-US" sz="2150" kern="0" dirty="0" err="1" smtClean="0"/>
              <a:t>percepción</a:t>
            </a:r>
            <a:r>
              <a:rPr lang="en-US" sz="2150" kern="0" dirty="0" smtClean="0"/>
              <a:t> </a:t>
            </a:r>
          </a:p>
          <a:p>
            <a:endParaRPr lang="en-US" sz="2150" kern="0" dirty="0"/>
          </a:p>
          <a:p>
            <a:endParaRPr lang="en-US" sz="2150" kern="0" dirty="0" smtClean="0"/>
          </a:p>
          <a:p>
            <a:endParaRPr lang="en-US" sz="2150" kern="0" dirty="0" smtClean="0"/>
          </a:p>
        </p:txBody>
      </p:sp>
    </p:spTree>
    <p:extLst>
      <p:ext uri="{BB962C8B-B14F-4D97-AF65-F5344CB8AC3E}">
        <p14:creationId xmlns:p14="http://schemas.microsoft.com/office/powerpoint/2010/main" val="383242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/>
          <p:cNvSpPr>
            <a:spLocks noGrp="1" noChangeArrowheads="1"/>
          </p:cNvSpPr>
          <p:nvPr>
            <p:ph type="dt" sz="quarter" idx="10"/>
          </p:nvPr>
        </p:nvSpPr>
        <p:spPr>
          <a:xfrm>
            <a:off x="163513" y="6184900"/>
            <a:ext cx="3184525" cy="47466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6147" name="Rectangle 10"/>
          <p:cNvSpPr>
            <a:spLocks noGrp="1" noChangeArrowheads="1"/>
          </p:cNvSpPr>
          <p:nvPr>
            <p:ph type="ctrTitle"/>
          </p:nvPr>
        </p:nvSpPr>
        <p:spPr>
          <a:xfrm>
            <a:off x="25400" y="3213100"/>
            <a:ext cx="9144000" cy="1152525"/>
          </a:xfrm>
        </p:spPr>
        <p:txBody>
          <a:bodyPr/>
          <a:lstStyle/>
          <a:p>
            <a:r>
              <a:rPr lang="es-ES" smtClean="0"/>
              <a:t>Nuevas formas de aproximarse a la medición de calidad en servicios móviles </a:t>
            </a:r>
            <a:r>
              <a:rPr lang="es-ES" b="0" smtClean="0"/>
              <a:t>	</a:t>
            </a:r>
            <a:endParaRPr lang="en-US" smtClean="0"/>
          </a:p>
        </p:txBody>
      </p:sp>
      <p:sp>
        <p:nvSpPr>
          <p:cNvPr id="6148" name="Rectangle 11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581525"/>
            <a:ext cx="6400800" cy="1457325"/>
          </a:xfrm>
        </p:spPr>
        <p:txBody>
          <a:bodyPr/>
          <a:lstStyle/>
          <a:p>
            <a:r>
              <a:rPr lang="en-GB" b="1" smtClean="0"/>
              <a:t>Ernesto M. Flores-Roux</a:t>
            </a:r>
          </a:p>
          <a:p>
            <a:r>
              <a:rPr lang="en-GB" b="1" smtClean="0"/>
              <a:t>Centro de Investigación y Docencia Económicas – CIDE </a:t>
            </a:r>
          </a:p>
        </p:txBody>
      </p:sp>
      <p:sp>
        <p:nvSpPr>
          <p:cNvPr id="6149" name="Rectangle 13"/>
          <p:cNvSpPr>
            <a:spLocks noChangeArrowheads="1"/>
          </p:cNvSpPr>
          <p:nvPr/>
        </p:nvSpPr>
        <p:spPr bwMode="auto">
          <a:xfrm>
            <a:off x="0" y="908050"/>
            <a:ext cx="9144000" cy="2233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 algn="ctr"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en-US" sz="2400" b="1"/>
              <a:t>CITEL (PCC.I)/ ITU Forum on Information and</a:t>
            </a:r>
            <a:br>
              <a:rPr lang="en-US" sz="2400" b="1"/>
            </a:br>
            <a:r>
              <a:rPr lang="en-US" sz="2400" b="1"/>
              <a:t>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en-US" sz="2400" b="1"/>
              <a:t>Communication Technology Service: </a:t>
            </a:r>
            <a:br>
              <a:rPr lang="en-US" sz="2400" b="1"/>
            </a:br>
            <a:endParaRPr lang="en-US" sz="2400" b="1">
              <a:solidFill>
                <a:srgbClr val="22228B"/>
              </a:solidFill>
            </a:endParaRPr>
          </a:p>
          <a:p>
            <a:pPr algn="ctr"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en-US" sz="2400" b="1">
                <a:solidFill>
                  <a:srgbClr val="22228B"/>
                </a:solidFill>
              </a:rPr>
              <a:t>Quality, Control and Surveillance</a:t>
            </a:r>
            <a:br>
              <a:rPr lang="en-US" sz="2400" b="1">
                <a:solidFill>
                  <a:srgbClr val="22228B"/>
                </a:solidFill>
              </a:rPr>
            </a:br>
            <a:endParaRPr lang="en-US" sz="2400" b="1">
              <a:solidFill>
                <a:srgbClr val="22228B"/>
              </a:solidFill>
            </a:endParaRPr>
          </a:p>
          <a:p>
            <a:pPr algn="ctr"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en-US" sz="1800" b="1">
                <a:solidFill>
                  <a:srgbClr val="22228B"/>
                </a:solidFill>
              </a:rPr>
              <a:t>(Cartagena de Indias, Colombia, 23-24 September 2013)</a:t>
            </a:r>
            <a:endParaRPr lang="en-US" sz="1800" b="1"/>
          </a:p>
        </p:txBody>
      </p:sp>
      <p:sp>
        <p:nvSpPr>
          <p:cNvPr id="6150" name="AutoShape 18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endParaRPr lang="en-GB">
              <a:solidFill>
                <a:schemeClr val="tx1"/>
              </a:solidFill>
            </a:endParaRPr>
          </a:p>
        </p:txBody>
      </p:sp>
      <p:sp>
        <p:nvSpPr>
          <p:cNvPr id="6151" name="AutoShape 20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endParaRPr lang="en-GB">
              <a:solidFill>
                <a:schemeClr val="tx1"/>
              </a:solidFill>
            </a:endParaRPr>
          </a:p>
        </p:txBody>
      </p:sp>
      <p:sp>
        <p:nvSpPr>
          <p:cNvPr id="6152" name="AutoShape 22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endParaRPr lang="en-GB">
              <a:solidFill>
                <a:schemeClr val="tx1"/>
              </a:solidFill>
            </a:endParaRPr>
          </a:p>
        </p:txBody>
      </p:sp>
      <p:sp>
        <p:nvSpPr>
          <p:cNvPr id="6153" name="AutoShape 24" descr="image002"/>
          <p:cNvSpPr>
            <a:spLocks noChangeAspect="1" noChangeArrowheads="1"/>
          </p:cNvSpPr>
          <p:nvPr/>
        </p:nvSpPr>
        <p:spPr bwMode="auto">
          <a:xfrm>
            <a:off x="3857625" y="2928938"/>
            <a:ext cx="142875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endParaRPr lang="en-GB">
              <a:solidFill>
                <a:schemeClr val="tx1"/>
              </a:solidFill>
            </a:endParaRPr>
          </a:p>
        </p:txBody>
      </p:sp>
      <p:sp>
        <p:nvSpPr>
          <p:cNvPr id="6154" name="Rectangle 26"/>
          <p:cNvSpPr>
            <a:spLocks noChangeArrowheads="1"/>
          </p:cNvSpPr>
          <p:nvPr/>
        </p:nvSpPr>
        <p:spPr bwMode="auto">
          <a:xfrm>
            <a:off x="0" y="2928938"/>
            <a:ext cx="914400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endParaRPr lang="en-GB">
              <a:solidFill>
                <a:schemeClr val="tx1"/>
              </a:solidFill>
            </a:endParaRPr>
          </a:p>
        </p:txBody>
      </p:sp>
      <p:pic>
        <p:nvPicPr>
          <p:cNvPr id="6155" name="Picture 16" descr="ITUseries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264" b="69327"/>
          <a:stretch>
            <a:fillRect/>
          </a:stretch>
        </p:blipFill>
        <p:spPr bwMode="auto">
          <a:xfrm>
            <a:off x="6948488" y="244475"/>
            <a:ext cx="16383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6" name="Picture 12" descr="Citel_logo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317500"/>
            <a:ext cx="2082800" cy="547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7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475" y="244475"/>
            <a:ext cx="2085975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8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7638" y="5100638"/>
            <a:ext cx="646112" cy="81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6158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4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¿</a:t>
            </a:r>
            <a:r>
              <a:rPr lang="en-US" dirty="0" err="1" smtClean="0"/>
              <a:t>Qué</a:t>
            </a:r>
            <a:r>
              <a:rPr lang="en-US" dirty="0" smtClean="0"/>
              <a:t> </a:t>
            </a:r>
            <a:r>
              <a:rPr lang="en-US" dirty="0" err="1" smtClean="0"/>
              <a:t>logra</a:t>
            </a:r>
            <a:r>
              <a:rPr lang="en-US" dirty="0" smtClean="0"/>
              <a:t> la </a:t>
            </a:r>
            <a:r>
              <a:rPr lang="en-US" dirty="0" err="1" smtClean="0"/>
              <a:t>gráfica</a:t>
            </a:r>
            <a:r>
              <a:rPr lang="en-US" dirty="0" smtClean="0"/>
              <a:t> anterior?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57200" y="1229620"/>
            <a:ext cx="8363272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US" sz="2400" kern="0" dirty="0" smtClean="0"/>
              <a:t>Para Argentina, Chile y Uruguay: </a:t>
            </a:r>
            <a:r>
              <a:rPr lang="en-US" sz="2400" kern="0" dirty="0" err="1" smtClean="0"/>
              <a:t>orgullo</a:t>
            </a:r>
            <a:r>
              <a:rPr lang="en-US" sz="2400" kern="0" dirty="0" smtClean="0"/>
              <a:t> </a:t>
            </a:r>
            <a:r>
              <a:rPr lang="en-US" sz="2400" kern="0" dirty="0" err="1" smtClean="0"/>
              <a:t>nacional</a:t>
            </a:r>
            <a:endParaRPr lang="en-US" sz="2400" kern="0" dirty="0" smtClean="0"/>
          </a:p>
          <a:p>
            <a:endParaRPr lang="en-US" sz="2400" kern="0" dirty="0"/>
          </a:p>
          <a:p>
            <a:r>
              <a:rPr lang="en-US" sz="2400" kern="0" dirty="0" smtClean="0"/>
              <a:t>Para </a:t>
            </a:r>
            <a:r>
              <a:rPr lang="en-US" sz="2400" kern="0" dirty="0" err="1" smtClean="0"/>
              <a:t>Brasil</a:t>
            </a:r>
            <a:r>
              <a:rPr lang="en-US" sz="2400" kern="0" dirty="0" smtClean="0"/>
              <a:t>, </a:t>
            </a:r>
            <a:r>
              <a:rPr lang="en-US" sz="2400" kern="0" dirty="0" err="1" smtClean="0"/>
              <a:t>probablemente</a:t>
            </a:r>
            <a:r>
              <a:rPr lang="en-US" sz="2400" kern="0" dirty="0" smtClean="0"/>
              <a:t> </a:t>
            </a:r>
            <a:r>
              <a:rPr lang="en-US" sz="2400" kern="0" dirty="0" err="1" smtClean="0"/>
              <a:t>voluntad</a:t>
            </a:r>
            <a:r>
              <a:rPr lang="en-US" sz="2400" kern="0" dirty="0" smtClean="0"/>
              <a:t> de </a:t>
            </a:r>
            <a:r>
              <a:rPr lang="en-US" sz="2400" kern="0" dirty="0" err="1" smtClean="0"/>
              <a:t>ser</a:t>
            </a:r>
            <a:r>
              <a:rPr lang="en-US" sz="2400" kern="0" dirty="0" smtClean="0"/>
              <a:t> el </a:t>
            </a:r>
            <a:r>
              <a:rPr lang="en-US" sz="2400" kern="0" dirty="0" err="1" smtClean="0"/>
              <a:t>primero</a:t>
            </a:r>
            <a:endParaRPr lang="en-US" sz="2400" kern="0" dirty="0" smtClean="0"/>
          </a:p>
          <a:p>
            <a:endParaRPr lang="en-US" sz="2400" kern="0" dirty="0"/>
          </a:p>
          <a:p>
            <a:r>
              <a:rPr lang="en-US" sz="2400" kern="0" dirty="0" smtClean="0"/>
              <a:t>Para </a:t>
            </a:r>
            <a:r>
              <a:rPr lang="en-US" sz="2400" i="1" kern="0" dirty="0" smtClean="0"/>
              <a:t>the middle of the pack</a:t>
            </a:r>
            <a:r>
              <a:rPr lang="en-US" sz="2400" kern="0" dirty="0" smtClean="0"/>
              <a:t>, </a:t>
            </a:r>
            <a:r>
              <a:rPr lang="en-US" sz="2400" kern="0" dirty="0" err="1" smtClean="0"/>
              <a:t>algún</a:t>
            </a:r>
            <a:r>
              <a:rPr lang="en-US" sz="2400" kern="0" dirty="0" smtClean="0"/>
              <a:t> </a:t>
            </a:r>
            <a:r>
              <a:rPr lang="en-US" sz="2400" kern="0" dirty="0" err="1" smtClean="0"/>
              <a:t>deseo</a:t>
            </a:r>
            <a:r>
              <a:rPr lang="en-US" sz="2400" kern="0" dirty="0" smtClean="0"/>
              <a:t> de </a:t>
            </a:r>
            <a:r>
              <a:rPr lang="en-US" sz="2400" kern="0" dirty="0" err="1" smtClean="0"/>
              <a:t>mejorar</a:t>
            </a:r>
            <a:r>
              <a:rPr lang="en-US" sz="2400" kern="0" dirty="0" smtClean="0"/>
              <a:t> (o </a:t>
            </a:r>
            <a:r>
              <a:rPr lang="en-US" sz="2400" kern="0" dirty="0" err="1" smtClean="0"/>
              <a:t>tal</a:t>
            </a:r>
            <a:r>
              <a:rPr lang="en-US" sz="2400" kern="0" dirty="0" smtClean="0"/>
              <a:t> </a:t>
            </a:r>
            <a:r>
              <a:rPr lang="en-US" sz="2400" kern="0" dirty="0" err="1" smtClean="0"/>
              <a:t>vez</a:t>
            </a:r>
            <a:r>
              <a:rPr lang="en-US" sz="2400" kern="0" dirty="0" smtClean="0"/>
              <a:t> un “¡</a:t>
            </a:r>
            <a:r>
              <a:rPr lang="en-US" sz="2400" kern="0" dirty="0" err="1" smtClean="0"/>
              <a:t>uff</a:t>
            </a:r>
            <a:r>
              <a:rPr lang="en-US" sz="2400" kern="0" dirty="0" smtClean="0"/>
              <a:t>! </a:t>
            </a:r>
            <a:r>
              <a:rPr lang="en-US" sz="2400" kern="0" dirty="0" err="1" smtClean="0"/>
              <a:t>menos</a:t>
            </a:r>
            <a:r>
              <a:rPr lang="en-US" sz="2400" kern="0" dirty="0" smtClean="0"/>
              <a:t> mal”)</a:t>
            </a:r>
          </a:p>
          <a:p>
            <a:pPr marL="0" indent="0">
              <a:buNone/>
            </a:pPr>
            <a:endParaRPr lang="en-US" sz="2400" kern="0" dirty="0"/>
          </a:p>
          <a:p>
            <a:endParaRPr lang="en-US" sz="2400" kern="0" dirty="0" smtClean="0"/>
          </a:p>
        </p:txBody>
      </p:sp>
    </p:spTree>
    <p:extLst>
      <p:ext uri="{BB962C8B-B14F-4D97-AF65-F5344CB8AC3E}">
        <p14:creationId xmlns:p14="http://schemas.microsoft.com/office/powerpoint/2010/main" val="2401390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5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¿</a:t>
            </a:r>
            <a:r>
              <a:rPr lang="en-US" dirty="0" err="1" smtClean="0"/>
              <a:t>Qué</a:t>
            </a:r>
            <a:r>
              <a:rPr lang="en-US" dirty="0" smtClean="0"/>
              <a:t> </a:t>
            </a:r>
            <a:r>
              <a:rPr lang="en-US" dirty="0" err="1" smtClean="0"/>
              <a:t>logra</a:t>
            </a:r>
            <a:r>
              <a:rPr lang="en-US" dirty="0" smtClean="0"/>
              <a:t> la </a:t>
            </a:r>
            <a:r>
              <a:rPr lang="en-US" dirty="0" err="1" smtClean="0"/>
              <a:t>gráfica</a:t>
            </a:r>
            <a:r>
              <a:rPr lang="en-US" dirty="0" smtClean="0"/>
              <a:t> anterior?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57200" y="1229620"/>
            <a:ext cx="8363272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en-US" sz="2400" kern="0" dirty="0" smtClean="0"/>
              <a:t>Para Argentina, Chile y Uruguay: </a:t>
            </a:r>
            <a:r>
              <a:rPr lang="en-US" sz="2400" kern="0" dirty="0" err="1" smtClean="0"/>
              <a:t>orgullo</a:t>
            </a:r>
            <a:r>
              <a:rPr lang="en-US" sz="2400" kern="0" dirty="0" smtClean="0"/>
              <a:t> </a:t>
            </a:r>
            <a:r>
              <a:rPr lang="en-US" sz="2400" kern="0" dirty="0" err="1" smtClean="0"/>
              <a:t>nacional</a:t>
            </a:r>
            <a:endParaRPr lang="en-US" sz="2400" kern="0" dirty="0" smtClean="0"/>
          </a:p>
          <a:p>
            <a:endParaRPr lang="en-US" sz="2400" kern="0" dirty="0"/>
          </a:p>
          <a:p>
            <a:r>
              <a:rPr lang="en-US" sz="2400" kern="0" dirty="0" smtClean="0"/>
              <a:t>Para </a:t>
            </a:r>
            <a:r>
              <a:rPr lang="en-US" sz="2400" kern="0" dirty="0" err="1" smtClean="0"/>
              <a:t>Brasil</a:t>
            </a:r>
            <a:r>
              <a:rPr lang="en-US" sz="2400" kern="0" dirty="0" smtClean="0"/>
              <a:t>, </a:t>
            </a:r>
            <a:r>
              <a:rPr lang="en-US" sz="2400" kern="0" dirty="0" err="1" smtClean="0"/>
              <a:t>probablemente</a:t>
            </a:r>
            <a:r>
              <a:rPr lang="en-US" sz="2400" kern="0" dirty="0" smtClean="0"/>
              <a:t> </a:t>
            </a:r>
            <a:r>
              <a:rPr lang="en-US" sz="2400" kern="0" dirty="0" err="1" smtClean="0"/>
              <a:t>voluntad</a:t>
            </a:r>
            <a:r>
              <a:rPr lang="en-US" sz="2400" kern="0" dirty="0" smtClean="0"/>
              <a:t> de </a:t>
            </a:r>
            <a:r>
              <a:rPr lang="en-US" sz="2400" kern="0" dirty="0" err="1" smtClean="0"/>
              <a:t>ser</a:t>
            </a:r>
            <a:r>
              <a:rPr lang="en-US" sz="2400" kern="0" dirty="0" smtClean="0"/>
              <a:t> el </a:t>
            </a:r>
            <a:r>
              <a:rPr lang="en-US" sz="2400" kern="0" dirty="0" err="1" smtClean="0"/>
              <a:t>primero</a:t>
            </a:r>
            <a:endParaRPr lang="en-US" sz="2400" kern="0" dirty="0" smtClean="0"/>
          </a:p>
          <a:p>
            <a:endParaRPr lang="en-US" sz="2400" kern="0" dirty="0"/>
          </a:p>
          <a:p>
            <a:r>
              <a:rPr lang="en-US" sz="2400" kern="0" dirty="0" smtClean="0"/>
              <a:t>Para </a:t>
            </a:r>
            <a:r>
              <a:rPr lang="en-US" sz="2400" i="1" kern="0" dirty="0" smtClean="0"/>
              <a:t>the middle of the pack</a:t>
            </a:r>
            <a:r>
              <a:rPr lang="en-US" sz="2400" kern="0" dirty="0" smtClean="0"/>
              <a:t>, </a:t>
            </a:r>
            <a:r>
              <a:rPr lang="en-US" sz="2400" kern="0" dirty="0" err="1" smtClean="0"/>
              <a:t>algún</a:t>
            </a:r>
            <a:r>
              <a:rPr lang="en-US" sz="2400" kern="0" dirty="0" smtClean="0"/>
              <a:t> </a:t>
            </a:r>
            <a:r>
              <a:rPr lang="en-US" sz="2400" kern="0" dirty="0" err="1" smtClean="0"/>
              <a:t>deseo</a:t>
            </a:r>
            <a:r>
              <a:rPr lang="en-US" sz="2400" kern="0" dirty="0" smtClean="0"/>
              <a:t> de </a:t>
            </a:r>
            <a:r>
              <a:rPr lang="en-US" sz="2400" kern="0" dirty="0" err="1" smtClean="0"/>
              <a:t>mejorar</a:t>
            </a:r>
            <a:r>
              <a:rPr lang="en-US" sz="2400" kern="0" dirty="0" smtClean="0"/>
              <a:t> (o </a:t>
            </a:r>
            <a:r>
              <a:rPr lang="en-US" sz="2400" kern="0" dirty="0" err="1" smtClean="0"/>
              <a:t>tal</a:t>
            </a:r>
            <a:r>
              <a:rPr lang="en-US" sz="2400" kern="0" dirty="0" smtClean="0"/>
              <a:t> </a:t>
            </a:r>
            <a:r>
              <a:rPr lang="en-US" sz="2400" kern="0" dirty="0" err="1" smtClean="0"/>
              <a:t>vez</a:t>
            </a:r>
            <a:r>
              <a:rPr lang="en-US" sz="2400" kern="0" dirty="0" smtClean="0"/>
              <a:t> un “¡</a:t>
            </a:r>
            <a:r>
              <a:rPr lang="en-US" sz="2400" kern="0" dirty="0" err="1" smtClean="0"/>
              <a:t>uff</a:t>
            </a:r>
            <a:r>
              <a:rPr lang="en-US" sz="2400" kern="0" dirty="0" smtClean="0"/>
              <a:t>! </a:t>
            </a:r>
            <a:r>
              <a:rPr lang="en-US" sz="2400" kern="0" dirty="0" err="1" smtClean="0"/>
              <a:t>menos</a:t>
            </a:r>
            <a:r>
              <a:rPr lang="en-US" sz="2400" kern="0" dirty="0" smtClean="0"/>
              <a:t> mal”)</a:t>
            </a:r>
          </a:p>
          <a:p>
            <a:endParaRPr lang="en-US" sz="2400" kern="0" dirty="0"/>
          </a:p>
          <a:p>
            <a:r>
              <a:rPr lang="en-US" sz="2400" kern="0" dirty="0" smtClean="0"/>
              <a:t>Para México, </a:t>
            </a:r>
            <a:r>
              <a:rPr lang="en-US" sz="2400" kern="0" dirty="0" err="1" smtClean="0"/>
              <a:t>vergüenza</a:t>
            </a:r>
            <a:r>
              <a:rPr lang="en-US" sz="2400" kern="0" dirty="0"/>
              <a:t> </a:t>
            </a:r>
            <a:r>
              <a:rPr lang="en-US" sz="2400" kern="0" dirty="0" smtClean="0"/>
              <a:t>y </a:t>
            </a:r>
            <a:r>
              <a:rPr lang="en-US" sz="2400" kern="0" dirty="0" err="1" smtClean="0"/>
              <a:t>búsqueda</a:t>
            </a:r>
            <a:r>
              <a:rPr lang="en-US" sz="2400" kern="0" dirty="0" smtClean="0"/>
              <a:t> de </a:t>
            </a:r>
            <a:r>
              <a:rPr lang="en-US" sz="2400" kern="0" dirty="0" err="1" smtClean="0"/>
              <a:t>excusas</a:t>
            </a:r>
            <a:r>
              <a:rPr lang="en-US" sz="2400" kern="0" dirty="0" smtClean="0"/>
              <a:t>; y con el </a:t>
            </a:r>
            <a:r>
              <a:rPr lang="en-US" sz="2400" kern="0" dirty="0" err="1" smtClean="0"/>
              <a:t>tiempo</a:t>
            </a:r>
            <a:r>
              <a:rPr lang="en-US" sz="2400" kern="0" dirty="0" smtClean="0"/>
              <a:t>, </a:t>
            </a:r>
            <a:r>
              <a:rPr lang="en-US" sz="2400" kern="0" dirty="0" err="1" smtClean="0"/>
              <a:t>acción</a:t>
            </a:r>
            <a:r>
              <a:rPr lang="en-US" sz="2400" kern="0" dirty="0" smtClean="0"/>
              <a:t> (</a:t>
            </a:r>
            <a:r>
              <a:rPr lang="en-US" sz="2400" kern="0" dirty="0" err="1" smtClean="0"/>
              <a:t>por</a:t>
            </a:r>
            <a:r>
              <a:rPr lang="en-US" sz="2400" kern="0" dirty="0" smtClean="0"/>
              <a:t> </a:t>
            </a:r>
            <a:r>
              <a:rPr lang="en-US" sz="2400" kern="0" dirty="0" err="1" smtClean="0"/>
              <a:t>ejemplo</a:t>
            </a:r>
            <a:r>
              <a:rPr lang="en-US" sz="2400" kern="0" dirty="0" smtClean="0"/>
              <a:t>, </a:t>
            </a:r>
            <a:r>
              <a:rPr lang="en-US" sz="2400" kern="0" dirty="0" err="1" smtClean="0"/>
              <a:t>una</a:t>
            </a:r>
            <a:r>
              <a:rPr lang="en-US" sz="2400" kern="0" dirty="0" smtClean="0"/>
              <a:t> radical </a:t>
            </a:r>
            <a:r>
              <a:rPr lang="en-US" sz="2400" kern="0" dirty="0" err="1" smtClean="0"/>
              <a:t>reforma</a:t>
            </a:r>
            <a:r>
              <a:rPr lang="en-US" sz="2400" kern="0" dirty="0" smtClean="0"/>
              <a:t> </a:t>
            </a:r>
            <a:r>
              <a:rPr lang="en-US" sz="2400" kern="0" dirty="0" err="1" smtClean="0"/>
              <a:t>constitucional</a:t>
            </a:r>
            <a:r>
              <a:rPr lang="en-US" sz="2400" kern="0" dirty="0" smtClean="0"/>
              <a:t>)</a:t>
            </a:r>
          </a:p>
          <a:p>
            <a:endParaRPr lang="en-US" sz="2400" kern="0" dirty="0"/>
          </a:p>
          <a:p>
            <a:endParaRPr lang="en-US" sz="2400" kern="0" dirty="0" smtClean="0"/>
          </a:p>
        </p:txBody>
      </p:sp>
    </p:spTree>
    <p:extLst>
      <p:ext uri="{BB962C8B-B14F-4D97-AF65-F5344CB8AC3E}">
        <p14:creationId xmlns:p14="http://schemas.microsoft.com/office/powerpoint/2010/main" val="3497339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6387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3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3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3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15EE294E-2531-4295-8715-2B3C2BA0C241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6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638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Pasemos</a:t>
            </a:r>
            <a:r>
              <a:rPr lang="en-US" dirty="0" smtClean="0"/>
              <a:t> </a:t>
            </a:r>
            <a:r>
              <a:rPr lang="en-US" dirty="0" err="1" smtClean="0"/>
              <a:t>ahora</a:t>
            </a:r>
            <a:r>
              <a:rPr lang="en-US" dirty="0" smtClean="0"/>
              <a:t> al </a:t>
            </a:r>
            <a:r>
              <a:rPr lang="en-US" dirty="0" err="1" smtClean="0"/>
              <a:t>tema</a:t>
            </a:r>
            <a:r>
              <a:rPr lang="en-US" dirty="0" smtClean="0"/>
              <a:t> de la </a:t>
            </a:r>
            <a:r>
              <a:rPr lang="en-US" dirty="0" err="1" smtClean="0"/>
              <a:t>calidad</a:t>
            </a:r>
            <a:r>
              <a:rPr lang="en-US" dirty="0" smtClean="0"/>
              <a:t> de </a:t>
            </a:r>
            <a:r>
              <a:rPr lang="en-US" dirty="0" err="1" smtClean="0"/>
              <a:t>servicio</a:t>
            </a:r>
            <a:endParaRPr lang="en-US" dirty="0" smtClean="0"/>
          </a:p>
        </p:txBody>
      </p:sp>
      <p:sp>
        <p:nvSpPr>
          <p:cNvPr id="1638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165225"/>
            <a:ext cx="8229600" cy="4525963"/>
          </a:xfrm>
        </p:spPr>
        <p:txBody>
          <a:bodyPr/>
          <a:lstStyle/>
          <a:p>
            <a:r>
              <a:rPr lang="en-US" dirty="0" smtClean="0"/>
              <a:t>La </a:t>
            </a:r>
            <a:r>
              <a:rPr lang="en-US" dirty="0" err="1" smtClean="0"/>
              <a:t>regulación</a:t>
            </a:r>
            <a:r>
              <a:rPr lang="en-US" dirty="0" smtClean="0"/>
              <a:t> de la </a:t>
            </a:r>
            <a:r>
              <a:rPr lang="en-US" dirty="0" err="1" smtClean="0"/>
              <a:t>calidad</a:t>
            </a:r>
            <a:r>
              <a:rPr lang="en-US" dirty="0" smtClean="0"/>
              <a:t> de </a:t>
            </a:r>
            <a:r>
              <a:rPr lang="en-US" dirty="0" err="1" smtClean="0"/>
              <a:t>servicio</a:t>
            </a:r>
            <a:r>
              <a:rPr lang="en-US" dirty="0" smtClean="0"/>
              <a:t> (</a:t>
            </a:r>
            <a:r>
              <a:rPr lang="en-US" dirty="0" err="1" smtClean="0"/>
              <a:t>QoS</a:t>
            </a:r>
            <a:r>
              <a:rPr lang="en-US" dirty="0" smtClean="0"/>
              <a:t>) </a:t>
            </a:r>
            <a:r>
              <a:rPr lang="en-US" dirty="0" err="1" smtClean="0"/>
              <a:t>es</a:t>
            </a:r>
            <a:r>
              <a:rPr lang="en-US" dirty="0" smtClean="0"/>
              <a:t> </a:t>
            </a:r>
            <a:r>
              <a:rPr lang="en-US" dirty="0" err="1" smtClean="0"/>
              <a:t>uno</a:t>
            </a:r>
            <a:r>
              <a:rPr lang="en-US" dirty="0" smtClean="0"/>
              <a:t> de los </a:t>
            </a:r>
            <a:r>
              <a:rPr lang="en-US" dirty="0" err="1" smtClean="0"/>
              <a:t>temas</a:t>
            </a:r>
            <a:r>
              <a:rPr lang="en-US" dirty="0" smtClean="0"/>
              <a:t> </a:t>
            </a:r>
            <a:r>
              <a:rPr lang="en-US" dirty="0" err="1" smtClean="0"/>
              <a:t>más</a:t>
            </a:r>
            <a:r>
              <a:rPr lang="en-US" dirty="0" smtClean="0"/>
              <a:t> </a:t>
            </a:r>
            <a:r>
              <a:rPr lang="en-US" dirty="0" err="1" smtClean="0"/>
              <a:t>polémicos</a:t>
            </a:r>
            <a:r>
              <a:rPr lang="en-US" dirty="0" smtClean="0"/>
              <a:t> en </a:t>
            </a:r>
            <a:r>
              <a:rPr lang="en-US" dirty="0" err="1" smtClean="0"/>
              <a:t>telecomunicaciones</a:t>
            </a:r>
            <a:endParaRPr lang="en-US" dirty="0" smtClean="0"/>
          </a:p>
          <a:p>
            <a:r>
              <a:rPr lang="en-US" dirty="0" err="1" smtClean="0"/>
              <a:t>Además</a:t>
            </a:r>
            <a:r>
              <a:rPr lang="en-US" dirty="0" smtClean="0"/>
              <a:t>, se ha </a:t>
            </a:r>
            <a:r>
              <a:rPr lang="en-US" dirty="0" err="1" smtClean="0"/>
              <a:t>convertido</a:t>
            </a:r>
            <a:r>
              <a:rPr lang="en-US" dirty="0" smtClean="0"/>
              <a:t> en un </a:t>
            </a:r>
            <a:r>
              <a:rPr lang="en-US" dirty="0" err="1" smtClean="0"/>
              <a:t>tema</a:t>
            </a:r>
            <a:r>
              <a:rPr lang="en-US" dirty="0" smtClean="0"/>
              <a:t> con </a:t>
            </a:r>
            <a:r>
              <a:rPr lang="en-US" dirty="0" err="1" smtClean="0"/>
              <a:t>una</a:t>
            </a:r>
            <a:r>
              <a:rPr lang="en-US" dirty="0" smtClean="0"/>
              <a:t> </a:t>
            </a:r>
            <a:r>
              <a:rPr lang="en-US" dirty="0" err="1" smtClean="0"/>
              <a:t>grande</a:t>
            </a:r>
            <a:r>
              <a:rPr lang="en-US" dirty="0" smtClean="0"/>
              <a:t> </a:t>
            </a:r>
            <a:r>
              <a:rPr lang="en-US" dirty="0" err="1" smtClean="0"/>
              <a:t>carga</a:t>
            </a:r>
            <a:r>
              <a:rPr lang="en-US" dirty="0" smtClean="0"/>
              <a:t> </a:t>
            </a:r>
            <a:r>
              <a:rPr lang="en-US" dirty="0" err="1" smtClean="0"/>
              <a:t>política</a:t>
            </a:r>
            <a:r>
              <a:rPr lang="en-US" dirty="0" smtClean="0"/>
              <a:t> y </a:t>
            </a:r>
            <a:r>
              <a:rPr lang="en-US" dirty="0" err="1" smtClean="0"/>
              <a:t>mediática</a:t>
            </a:r>
            <a:r>
              <a:rPr lang="en-US" dirty="0" smtClean="0"/>
              <a:t> </a:t>
            </a:r>
            <a:r>
              <a:rPr lang="en-US" dirty="0" err="1" smtClean="0"/>
              <a:t>recientemente</a:t>
            </a:r>
            <a:endParaRPr lang="en-US" dirty="0" smtClean="0"/>
          </a:p>
          <a:p>
            <a:r>
              <a:rPr lang="en-US" dirty="0" smtClean="0"/>
              <a:t>¿La </a:t>
            </a:r>
            <a:r>
              <a:rPr lang="en-US" dirty="0" err="1" smtClean="0"/>
              <a:t>QoS</a:t>
            </a:r>
            <a:r>
              <a:rPr lang="en-US" dirty="0" smtClean="0"/>
              <a:t> se </a:t>
            </a:r>
            <a:r>
              <a:rPr lang="en-US" dirty="0" err="1"/>
              <a:t>debe</a:t>
            </a:r>
            <a:r>
              <a:rPr lang="en-US" dirty="0"/>
              <a:t> o no regular?</a:t>
            </a:r>
            <a:endParaRPr lang="en-US" dirty="0" smtClean="0"/>
          </a:p>
          <a:p>
            <a:pPr marL="0" indent="0"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56067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8435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DF655DFC-F8C3-414F-9AE6-F43C52934750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7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43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 </a:t>
            </a:r>
            <a:r>
              <a:rPr lang="en-US" dirty="0" err="1" smtClean="0"/>
              <a:t>QoS</a:t>
            </a:r>
            <a:r>
              <a:rPr lang="en-US" dirty="0" smtClean="0"/>
              <a:t> </a:t>
            </a:r>
            <a:r>
              <a:rPr lang="en-US" dirty="0" err="1" smtClean="0"/>
              <a:t>es</a:t>
            </a:r>
            <a:r>
              <a:rPr lang="en-US" dirty="0" smtClean="0"/>
              <a:t> </a:t>
            </a:r>
            <a:r>
              <a:rPr lang="en-US" dirty="0" err="1" smtClean="0"/>
              <a:t>una</a:t>
            </a:r>
            <a:r>
              <a:rPr lang="en-US" dirty="0" smtClean="0"/>
              <a:t> </a:t>
            </a:r>
            <a:r>
              <a:rPr lang="en-US" dirty="0" err="1" smtClean="0"/>
              <a:t>cuestión</a:t>
            </a:r>
            <a:r>
              <a:rPr lang="en-US" dirty="0" smtClean="0"/>
              <a:t> </a:t>
            </a:r>
            <a:r>
              <a:rPr lang="en-US" dirty="0" err="1" smtClean="0"/>
              <a:t>candente</a:t>
            </a:r>
            <a:r>
              <a:rPr lang="en-US" dirty="0" smtClean="0"/>
              <a:t> en Colombia …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6"/>
          <a:srcRect t="9641" b="46063"/>
          <a:stretch/>
        </p:blipFill>
        <p:spPr>
          <a:xfrm>
            <a:off x="366508" y="2276872"/>
            <a:ext cx="8460000" cy="2106919"/>
          </a:xfrm>
          <a:prstGeom prst="rect">
            <a:avLst/>
          </a:prstGeom>
        </p:spPr>
      </p:pic>
      <p:sp>
        <p:nvSpPr>
          <p:cNvPr id="12" name="McK 4.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112713" y="6262688"/>
            <a:ext cx="8197851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s-MX" sz="1400" dirty="0">
                <a:latin typeface="Univers" pitchFamily="34" charset="0"/>
                <a:cs typeface="Arial" panose="020B0604020202020204" pitchFamily="34" charset="0"/>
              </a:rPr>
              <a:t>	      Fuente: </a:t>
            </a:r>
            <a:r>
              <a:rPr lang="es-MX" sz="1400" dirty="0" smtClean="0">
                <a:latin typeface="Univers" pitchFamily="34" charset="0"/>
                <a:cs typeface="Arial" panose="020B0604020202020204" pitchFamily="34" charset="0"/>
              </a:rPr>
              <a:t>Cuenta de twitter del Presidente Santos, 15 de agosto de 2013</a:t>
            </a:r>
            <a:endParaRPr lang="es-MX" sz="1400" dirty="0">
              <a:latin typeface="Univers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3483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8435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DF655DFC-F8C3-414F-9AE6-F43C52934750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8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436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143000"/>
          </a:xfrm>
        </p:spPr>
        <p:txBody>
          <a:bodyPr/>
          <a:lstStyle/>
          <a:p>
            <a:r>
              <a:rPr lang="en-US" dirty="0" smtClean="0"/>
              <a:t>… en México …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6"/>
          <a:srcRect l="49447" t="41141" r="6278" b="23422"/>
          <a:stretch/>
        </p:blipFill>
        <p:spPr>
          <a:xfrm>
            <a:off x="1239084" y="2833169"/>
            <a:ext cx="6840000" cy="3077999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 rotWithShape="1">
          <a:blip r:embed="rId7"/>
          <a:srcRect l="7387" t="29329" r="7939" b="26375"/>
          <a:stretch/>
        </p:blipFill>
        <p:spPr>
          <a:xfrm>
            <a:off x="1332000" y="1124744"/>
            <a:ext cx="6480000" cy="1905882"/>
          </a:xfrm>
          <a:prstGeom prst="rect">
            <a:avLst/>
          </a:prstGeom>
        </p:spPr>
      </p:pic>
      <p:sp>
        <p:nvSpPr>
          <p:cNvPr id="12" name="McK 4.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112713" y="6262688"/>
            <a:ext cx="8197851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s-MX" sz="1400" dirty="0">
                <a:latin typeface="Univers" pitchFamily="34" charset="0"/>
                <a:cs typeface="Arial" panose="020B0604020202020204" pitchFamily="34" charset="0"/>
              </a:rPr>
              <a:t>	      Fuente: </a:t>
            </a:r>
            <a:r>
              <a:rPr lang="es-MX" sz="1400" dirty="0" smtClean="0">
                <a:latin typeface="Univers" pitchFamily="34" charset="0"/>
                <a:cs typeface="Arial" panose="020B0604020202020204" pitchFamily="34" charset="0"/>
              </a:rPr>
              <a:t>Gaceta Parlamentaria de la Cámara de Diputados, México, 25 de abril de 2013</a:t>
            </a:r>
            <a:endParaRPr lang="es-MX" sz="1400" dirty="0">
              <a:latin typeface="Univers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4483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Date Placeholder 3"/>
          <p:cNvSpPr>
            <a:spLocks noGrp="1"/>
          </p:cNvSpPr>
          <p:nvPr>
            <p:ph type="dt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sz="1400" smtClean="0">
                <a:solidFill>
                  <a:schemeClr val="tx1"/>
                </a:solidFill>
                <a:latin typeface="Univers" pitchFamily="34" charset="0"/>
              </a:rPr>
              <a:t>Colombia, 23-24 September 2013</a:t>
            </a:r>
          </a:p>
        </p:txBody>
      </p:sp>
      <p:sp>
        <p:nvSpPr>
          <p:cNvPr id="18435" name="Slide Number Placehold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SzPct val="75000"/>
              <a:buBlip>
                <a:blip r:embed="rId4"/>
              </a:buBlip>
              <a:defRPr sz="320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80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SzPct val="60000"/>
              <a:buBlip>
                <a:blip r:embed="rId4"/>
              </a:buBlip>
              <a:defRPr sz="240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SzPct val="70000"/>
              <a:buFont typeface="ZapfDingbats BT" pitchFamily="18" charset="2"/>
              <a:buBlip>
                <a:blip r:embed="rId5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4"/>
              </a:buBlip>
              <a:defRPr sz="2000">
                <a:solidFill>
                  <a:schemeClr val="bg2"/>
                </a:solidFill>
                <a:latin typeface="Verdana" panose="020B0604030504040204" pitchFamily="34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DF655DFC-F8C3-414F-9AE6-F43C52934750}" type="slidenum">
              <a:rPr lang="en-US" sz="1400">
                <a:solidFill>
                  <a:schemeClr val="tx1"/>
                </a:solidFill>
              </a:rPr>
              <a:pPr>
                <a:spcBef>
                  <a:spcPct val="0"/>
                </a:spcBef>
                <a:buSzTx/>
                <a:buFontTx/>
                <a:buNone/>
              </a:pPr>
              <a:t>9</a:t>
            </a:fld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1843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en Argentina …</a:t>
            </a: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 rotWithShape="1">
          <a:blip r:embed="rId6"/>
          <a:srcRect l="16794" t="15358" r="38931" b="6688"/>
          <a:stretch/>
        </p:blipFill>
        <p:spPr>
          <a:xfrm>
            <a:off x="1763687" y="836711"/>
            <a:ext cx="5475556" cy="5420285"/>
          </a:xfrm>
          <a:prstGeom prst="rect">
            <a:avLst/>
          </a:prstGeom>
        </p:spPr>
      </p:pic>
      <p:sp>
        <p:nvSpPr>
          <p:cNvPr id="12" name="McK 4.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-112713" y="6262688"/>
            <a:ext cx="8197851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1pPr>
            <a:lvl2pPr marL="742950" indent="-28575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marL="11430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marL="16002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marL="2057400" indent="-228600" defTabSz="895350"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es-MX" sz="1400" dirty="0">
                <a:latin typeface="Univers" pitchFamily="34" charset="0"/>
                <a:cs typeface="Arial" panose="020B0604020202020204" pitchFamily="34" charset="0"/>
              </a:rPr>
              <a:t>	      Fuente: </a:t>
            </a:r>
            <a:r>
              <a:rPr lang="es-MX" sz="1400" dirty="0" smtClean="0">
                <a:latin typeface="Univers" pitchFamily="34" charset="0"/>
                <a:cs typeface="Arial" panose="020B0604020202020204" pitchFamily="34" charset="0"/>
              </a:rPr>
              <a:t>Diario Norte, 2 de septiembre de 2013</a:t>
            </a:r>
            <a:endParaRPr lang="es-MX" sz="1400" dirty="0">
              <a:latin typeface="Univers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4187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xddI4ffk6ZubJb6SoKzw"/>
  <p:tag name="RESIZE" val="Ye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xddI4ffk6ZubJb6SoKzw"/>
  <p:tag name="RESIZE" val="Ye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xddI4ffk6ZubJb6SoKzw"/>
  <p:tag name="RESIZE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xddI4ffk6ZubJb6SoKzw"/>
  <p:tag name="RESIZE" val="Yes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xddI4ffk6ZubJb6SoKzw"/>
  <p:tag name="RESIZE" val="Ye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xddI4ffk6ZubJb6SoKzw"/>
  <p:tag name="RESIZE" val="Yes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xddI4ffk6ZubJb6SoKzw"/>
  <p:tag name="RESIZE" val="Yes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heme/theme1.xml><?xml version="1.0" encoding="utf-8"?>
<a:theme xmlns:a="http://schemas.openxmlformats.org/drawingml/2006/main" name="ITU-e">
  <a:themeElements>
    <a:clrScheme name="ITU-e 3">
      <a:dk1>
        <a:srgbClr val="000000"/>
      </a:dk1>
      <a:lt1>
        <a:srgbClr val="FFFFFF"/>
      </a:lt1>
      <a:dk2>
        <a:srgbClr val="000000"/>
      </a:dk2>
      <a:lt2>
        <a:srgbClr val="000099"/>
      </a:lt2>
      <a:accent1>
        <a:srgbClr val="FFCC00"/>
      </a:accent1>
      <a:accent2>
        <a:srgbClr val="3333CC"/>
      </a:accent2>
      <a:accent3>
        <a:srgbClr val="FFFFFF"/>
      </a:accent3>
      <a:accent4>
        <a:srgbClr val="000000"/>
      </a:accent4>
      <a:accent5>
        <a:srgbClr val="FFE2AA"/>
      </a:accent5>
      <a:accent6>
        <a:srgbClr val="2D2DB9"/>
      </a:accent6>
      <a:hlink>
        <a:srgbClr val="3399FF"/>
      </a:hlink>
      <a:folHlink>
        <a:srgbClr val="5F5F5F"/>
      </a:folHlink>
    </a:clrScheme>
    <a:fontScheme name="ITU-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ITU-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TU-e 2">
        <a:dk1>
          <a:srgbClr val="000000"/>
        </a:dk1>
        <a:lt1>
          <a:srgbClr val="FFFFFF"/>
        </a:lt1>
        <a:dk2>
          <a:srgbClr val="000000"/>
        </a:dk2>
        <a:lt2>
          <a:srgbClr val="0000FF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3399FF"/>
        </a:hlink>
        <a:folHlink>
          <a:srgbClr val="99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TU-e 3">
        <a:dk1>
          <a:srgbClr val="000000"/>
        </a:dk1>
        <a:lt1>
          <a:srgbClr val="FFFFFF"/>
        </a:lt1>
        <a:dk2>
          <a:srgbClr val="000000"/>
        </a:dk2>
        <a:lt2>
          <a:srgbClr val="000099"/>
        </a:lt2>
        <a:accent1>
          <a:srgbClr val="FFCC00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FFE2AA"/>
        </a:accent5>
        <a:accent6>
          <a:srgbClr val="2D2DB9"/>
        </a:accent6>
        <a:hlink>
          <a:srgbClr val="3399FF"/>
        </a:hlink>
        <a:folHlink>
          <a:srgbClr val="5F5F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73D3E754094264C8352BD5AE32030A2" ma:contentTypeVersion="1" ma:contentTypeDescription="Create a new document." ma:contentTypeScope="" ma:versionID="af5fefa78618b47fab65114f25efddb7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b345722d146e7751d163e781f9769179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22A848D-6B71-45B0-9782-7986C3D5B666}"/>
</file>

<file path=customXml/itemProps2.xml><?xml version="1.0" encoding="utf-8"?>
<ds:datastoreItem xmlns:ds="http://schemas.openxmlformats.org/officeDocument/2006/customXml" ds:itemID="{F026BB6B-DE96-4B9D-9D8C-854E0BE4F42B}"/>
</file>

<file path=customXml/itemProps3.xml><?xml version="1.0" encoding="utf-8"?>
<ds:datastoreItem xmlns:ds="http://schemas.openxmlformats.org/officeDocument/2006/customXml" ds:itemID="{15C5C8A7-A9CD-4411-B8A1-83A33BF3F6A5}"/>
</file>

<file path=docProps/app.xml><?xml version="1.0" encoding="utf-8"?>
<Properties xmlns="http://schemas.openxmlformats.org/officeDocument/2006/extended-properties" xmlns:vt="http://schemas.openxmlformats.org/officeDocument/2006/docPropsVTypes">
  <Template>ITU-e</Template>
  <TotalTime>5486</TotalTime>
  <Words>2136</Words>
  <Application>Microsoft Office PowerPoint</Application>
  <PresentationFormat>Presentación en pantalla (4:3)</PresentationFormat>
  <Paragraphs>394</Paragraphs>
  <Slides>39</Slides>
  <Notes>39</Notes>
  <HiddenSlides>0</HiddenSlides>
  <MMClips>0</MMClips>
  <ScaleCrop>false</ScaleCrop>
  <HeadingPairs>
    <vt:vector size="6" baseType="variant">
      <vt:variant>
        <vt:lpstr>Fuentes usadas</vt:lpstr>
      </vt:variant>
      <vt:variant>
        <vt:i4>7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39</vt:i4>
      </vt:variant>
    </vt:vector>
  </HeadingPairs>
  <TitlesOfParts>
    <vt:vector size="47" baseType="lpstr">
      <vt:lpstr>SimSun</vt:lpstr>
      <vt:lpstr>Arial</vt:lpstr>
      <vt:lpstr>Symbol</vt:lpstr>
      <vt:lpstr>Univers</vt:lpstr>
      <vt:lpstr>Verdana</vt:lpstr>
      <vt:lpstr>Wingdings</vt:lpstr>
      <vt:lpstr>ZapfDingbats BT</vt:lpstr>
      <vt:lpstr>ITU-e</vt:lpstr>
      <vt:lpstr>Nuevas formas de aproximarse a la medición de calidad en servicios móviles  </vt:lpstr>
      <vt:lpstr>Comencemos con una gráfica sencilla</vt:lpstr>
      <vt:lpstr>Comencemos con una gráfica sencilla</vt:lpstr>
      <vt:lpstr>¿Qué logra la gráfica anterior?</vt:lpstr>
      <vt:lpstr>¿Qué logra la gráfica anterior?</vt:lpstr>
      <vt:lpstr>Pasemos ahora al tema de la calidad de servicio</vt:lpstr>
      <vt:lpstr>La QoS es una cuestión candente en Colombia …</vt:lpstr>
      <vt:lpstr>… en México …</vt:lpstr>
      <vt:lpstr>… en Argentina …</vt:lpstr>
      <vt:lpstr>… en Brasil …</vt:lpstr>
      <vt:lpstr>La UIT reconoce que la QoS tiene 4 dimensiones</vt:lpstr>
      <vt:lpstr>Sin embargo, sólo una puede medirse “exacta” y técnicamente</vt:lpstr>
      <vt:lpstr>La regulación de la QoS origina del concepto de “monopolio natural”</vt:lpstr>
      <vt:lpstr>Pero en telecomunicaciones el “monopolio natural” está superado</vt:lpstr>
      <vt:lpstr>La calidad de servicio (QoS) involucra tres dimensiones…</vt:lpstr>
      <vt:lpstr>… que se utilizan para competir en el mercado</vt:lpstr>
      <vt:lpstr>Una QoS homogénea tiene implicaciones no deseables</vt:lpstr>
      <vt:lpstr>La QoS tiene efectos en muchas dimensiones del desarrollo del mercado</vt:lpstr>
      <vt:lpstr>Obligaciones de QoS pueden resultar en un aumento de la brecha de acceso</vt:lpstr>
      <vt:lpstr>De aquí se derivan varios efectos…</vt:lpstr>
      <vt:lpstr>… que se exacerban si la regulación de la QoS no es buena</vt:lpstr>
      <vt:lpstr>¿Cuándo entonces deben exigirse obligaciones de QoS?</vt:lpstr>
      <vt:lpstr>Por lo tanto, hasta dónde regular la calidad de servicio genera un dilema</vt:lpstr>
      <vt:lpstr>Además, en las redes actuales, no se tiene control total de punta a punta</vt:lpstr>
      <vt:lpstr>Esto es aún más acentuado en redes de internet</vt:lpstr>
      <vt:lpstr>Y también existen algunos factores exógenos que afectan la QoS</vt:lpstr>
      <vt:lpstr>Esto complica la imposición de indicadores de QoS mínimos</vt:lpstr>
      <vt:lpstr>Pasemos a juntar las ideas anteriores en una propuesta concreta</vt:lpstr>
      <vt:lpstr>Todo proceso de QoS tiene 4 pasos</vt:lpstr>
      <vt:lpstr>Primeramente se requiere de una definición: útil, informativa, realista</vt:lpstr>
      <vt:lpstr>Propuesta de abordaje:  Regulación por comparación</vt:lpstr>
      <vt:lpstr>Regulación por comparación:  Permite entender la posición relativa</vt:lpstr>
      <vt:lpstr>Posteriormente definir cómo se mide: Procesos estandarizados</vt:lpstr>
      <vt:lpstr>Después debe realizarse la medición: Sin conflicto de interés</vt:lpstr>
      <vt:lpstr>Y finalmente dar publicidad a los resultados: Concientización</vt:lpstr>
      <vt:lpstr>La última fase es fundamental, pues busca cumplir tres objetivos</vt:lpstr>
      <vt:lpstr>Si la “autorregulación” no funciona, entonces es necesario regular</vt:lpstr>
      <vt:lpstr>¿Por qué tiene sentido la propuesta anterior?</vt:lpstr>
      <vt:lpstr>Nuevas formas de aproximarse a la medición de calidad en servicios móviles  </vt:lpstr>
    </vt:vector>
  </TitlesOfParts>
  <Company>ITU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tional  Telecommunication  Union</dc:title>
  <dc:creator>P.Rosa</dc:creator>
  <cp:lastModifiedBy>User</cp:lastModifiedBy>
  <cp:revision>413</cp:revision>
  <cp:lastPrinted>2001-11-25T13:41:09Z</cp:lastPrinted>
  <dcterms:created xsi:type="dcterms:W3CDTF">2007-02-20T15:47:31Z</dcterms:created>
  <dcterms:modified xsi:type="dcterms:W3CDTF">2013-09-24T14:4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73D3E754094264C8352BD5AE32030A2</vt:lpwstr>
  </property>
</Properties>
</file>